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notesSlides/notesSlide9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 bookmarkIdSeed="2">
  <p:sldMasterIdLst>
    <p:sldMasterId id="2147483709" r:id="rId1"/>
  </p:sldMasterIdLst>
  <p:notesMasterIdLst>
    <p:notesMasterId r:id="rId23"/>
  </p:notesMasterIdLst>
  <p:handoutMasterIdLst>
    <p:handoutMasterId r:id="rId24"/>
  </p:handoutMasterIdLst>
  <p:sldIdLst>
    <p:sldId id="334" r:id="rId2"/>
    <p:sldId id="442" r:id="rId3"/>
    <p:sldId id="445" r:id="rId4"/>
    <p:sldId id="404" r:id="rId5"/>
    <p:sldId id="436" r:id="rId6"/>
    <p:sldId id="406" r:id="rId7"/>
    <p:sldId id="444" r:id="rId8"/>
    <p:sldId id="439" r:id="rId9"/>
    <p:sldId id="446" r:id="rId10"/>
    <p:sldId id="429" r:id="rId11"/>
    <p:sldId id="395" r:id="rId12"/>
    <p:sldId id="423" r:id="rId13"/>
    <p:sldId id="447" r:id="rId14"/>
    <p:sldId id="448" r:id="rId15"/>
    <p:sldId id="420" r:id="rId16"/>
    <p:sldId id="434" r:id="rId17"/>
    <p:sldId id="298" r:id="rId18"/>
    <p:sldId id="435" r:id="rId19"/>
    <p:sldId id="392" r:id="rId20"/>
    <p:sldId id="365" r:id="rId21"/>
    <p:sldId id="287" r:id="rId22"/>
  </p:sldIdLst>
  <p:sldSz cx="10080625" cy="7561263"/>
  <p:notesSz cx="6797675" cy="9928225"/>
  <p:custDataLst>
    <p:tags r:id="rId25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8" orient="horz" pos="2404" userDrawn="1">
          <p15:clr>
            <a:srgbClr val="A4A3A4"/>
          </p15:clr>
        </p15:guide>
        <p15:guide id="17" pos="227" userDrawn="1">
          <p15:clr>
            <a:srgbClr val="A4A3A4"/>
          </p15:clr>
        </p15:guide>
        <p15:guide id="23" orient="horz" pos="226">
          <p15:clr>
            <a:srgbClr val="A4A3A4"/>
          </p15:clr>
        </p15:guide>
        <p15:guide id="27" orient="horz" pos="749">
          <p15:clr>
            <a:srgbClr val="A4A3A4"/>
          </p15:clr>
        </p15:guide>
        <p15:guide id="28" orient="horz" pos="4105">
          <p15:clr>
            <a:srgbClr val="A4A3A4"/>
          </p15:clr>
        </p15:guide>
        <p15:guide id="29" orient="horz" pos="4355" userDrawn="1">
          <p15:clr>
            <a:srgbClr val="A4A3A4"/>
          </p15:clr>
        </p15:guide>
        <p15:guide id="31" pos="1724" userDrawn="1">
          <p15:clr>
            <a:srgbClr val="A4A3A4"/>
          </p15:clr>
        </p15:guide>
        <p15:guide id="32" pos="1632">
          <p15:clr>
            <a:srgbClr val="A4A3A4"/>
          </p15:clr>
        </p15:guide>
        <p15:guide id="34" pos="6123" userDrawn="1">
          <p15:clr>
            <a:srgbClr val="A4A3A4"/>
          </p15:clr>
        </p15:guide>
        <p15:guide id="35" pos="4717">
          <p15:clr>
            <a:srgbClr val="A4A3A4"/>
          </p15:clr>
        </p15:guide>
        <p15:guide id="36" pos="4627" userDrawn="1">
          <p15:clr>
            <a:srgbClr val="A4A3A4"/>
          </p15:clr>
        </p15:guide>
        <p15:guide id="37" pos="31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  <p15:guide id="3" pos="299" userDrawn="1">
          <p15:clr>
            <a:srgbClr val="A4A3A4"/>
          </p15:clr>
        </p15:guide>
        <p15:guide id="4" pos="398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Szerző" initials="S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4A985D"/>
    <a:srgbClr val="FFFF99"/>
    <a:srgbClr val="66FF66"/>
    <a:srgbClr val="E20074"/>
    <a:srgbClr val="E20000"/>
    <a:srgbClr val="00FFFF"/>
    <a:srgbClr val="992C99"/>
    <a:srgbClr val="4B4B4B"/>
    <a:srgbClr val="C4C4C4"/>
    <a:srgbClr val="E1E1E1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359" autoAdjust="0"/>
    <p:restoredTop sz="78276" autoAdjust="0"/>
  </p:normalViewPr>
  <p:slideViewPr>
    <p:cSldViewPr snapToGrid="0" snapToObjects="1">
      <p:cViewPr varScale="1">
        <p:scale>
          <a:sx n="66" d="100"/>
          <a:sy n="66" d="100"/>
        </p:scale>
        <p:origin x="-1332" y="-114"/>
      </p:cViewPr>
      <p:guideLst>
        <p:guide orient="horz" pos="2404"/>
        <p:guide orient="horz" pos="226"/>
        <p:guide orient="horz" pos="749"/>
        <p:guide orient="horz" pos="4105"/>
        <p:guide orient="horz" pos="4355"/>
        <p:guide pos="227"/>
        <p:guide pos="1724"/>
        <p:guide pos="1632"/>
        <p:guide pos="6123"/>
        <p:guide pos="4717"/>
        <p:guide pos="4627"/>
        <p:guide pos="3130"/>
      </p:guideLst>
    </p:cSldViewPr>
  </p:slideViewPr>
  <p:outlineViewPr>
    <p:cViewPr>
      <p:scale>
        <a:sx n="33" d="100"/>
        <a:sy n="33" d="100"/>
      </p:scale>
      <p:origin x="0" y="-44973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>
        <p:scale>
          <a:sx n="50" d="100"/>
          <a:sy n="50" d="100"/>
        </p:scale>
        <p:origin x="2892" y="-78"/>
      </p:cViewPr>
      <p:guideLst>
        <p:guide orient="horz" pos="3127"/>
        <p:guide pos="2141"/>
        <p:guide pos="299"/>
        <p:guide pos="3983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855015" y="9381000"/>
            <a:ext cx="467452" cy="304883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78356" y="261996"/>
            <a:ext cx="5806347" cy="280955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6950" y="403225"/>
            <a:ext cx="4803775" cy="3603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4590" y="4209155"/>
            <a:ext cx="5848498" cy="49744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855635" y="9381000"/>
            <a:ext cx="467452" cy="30488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345300-06CA-40BE-9A9D-B151DEC6D99A}" type="slidenum">
              <a:rPr lang="hu-HU" smtClean="0"/>
              <a:pPr/>
              <a:t>6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30553125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345300-06CA-40BE-9A9D-B151DEC6D99A}" type="slidenum">
              <a:rPr lang="hu-HU" smtClean="0"/>
              <a:pPr/>
              <a:t>7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32383144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395347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345300-06CA-40BE-9A9D-B151DEC6D99A}" type="slidenum">
              <a:rPr lang="hu-HU" smtClean="0"/>
              <a:pPr/>
              <a:t>9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12981781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4071088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hu-HU" altLang="hu-HU" dirty="0" smtClean="0">
              <a:cs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/>
              <a:t>01.10.2012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18438" name="Slide Number Placeholder 5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Tele-GroteskNor" pitchFamily="2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Tele-GroteskNor" pitchFamily="2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Tele-GroteskNor" pitchFamily="2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Tele-GroteskNor" pitchFamily="2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Tele-GroteskNor" pitchFamily="2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Tele-GroteskNor" pitchFamily="2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Tele-GroteskNor" pitchFamily="2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Tele-GroteskNor" pitchFamily="2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Tele-GroteskNor" pitchFamily="2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fld id="{31767147-25D8-4825-B3F7-7E47ECC00E28}" type="slidenum">
              <a:rPr lang="de-DE" altLang="hu-HU" smtClean="0"/>
              <a:pPr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</a:pPr>
              <a:t>14</a:t>
            </a:fld>
            <a:endParaRPr lang="de-DE" altLang="hu-HU" smtClean="0"/>
          </a:p>
        </p:txBody>
      </p:sp>
    </p:spTree>
    <p:extLst>
      <p:ext uri="{BB962C8B-B14F-4D97-AF65-F5344CB8AC3E}">
        <p14:creationId xmlns:p14="http://schemas.microsoft.com/office/powerpoint/2010/main" xmlns="" val="28515581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613796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798578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899020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image" Target="../media/image12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image" Target="../media/image13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image" Target="../media/image15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4.v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5.v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6.v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7.v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8.v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9.v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0.v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1.v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2.v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3.v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4.v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5.v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.xml"/><Relationship Id="rId7" Type="http://schemas.openxmlformats.org/officeDocument/2006/relationships/image" Target="../media/image6.jpeg"/><Relationship Id="rId2" Type="http://schemas.openxmlformats.org/officeDocument/2006/relationships/tags" Target="../tags/tag2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image" Target="../media/image8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image" Target="../media/image9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image" Target="../media/image10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image" Target="../media/image11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084115896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p:oleObj spid="_x0000_s626992" name="think-cell Folie" r:id="rId3" imgW="360" imgH="360" progId="">
              <p:embed/>
            </p:oleObj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60000" y="1512000"/>
            <a:ext cx="9366613" cy="2558661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lang="en-US" sz="4800" dirty="0" smtClean="0">
                <a:latin typeface="TeleGrotesk Headline" pitchFamily="2" charset="0"/>
              </a:rPr>
              <a:t>Maximum of 3 lines</a:t>
            </a:r>
            <a:br>
              <a:rPr lang="en-US" sz="4800" dirty="0" smtClean="0">
                <a:latin typeface="TeleGrotesk Headline" pitchFamily="2" charset="0"/>
              </a:rPr>
            </a:br>
            <a:r>
              <a:rPr lang="en-US" sz="4800" dirty="0" smtClean="0">
                <a:latin typeface="TeleGrotesk Headline" pitchFamily="2" charset="0"/>
              </a:rPr>
              <a:t>40 (48) 66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61950" y="4505418"/>
            <a:ext cx="9364663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baseline="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" name="Grafik 21" descr="TSY_Logo_3c_p.emf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black">
          <a:xfrm>
            <a:off x="360000" y="6678000"/>
            <a:ext cx="3606868" cy="65519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718240067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p:oleObj spid="_x0000_s633047" name="think-cell Folie" r:id="rId3" imgW="360" imgH="360" progId="">
              <p:embed/>
            </p:oleObj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4"/>
          <a:stretch>
            <a:fillRect/>
          </a:stretch>
        </p:blipFill>
        <p:spPr bwMode="ltGray">
          <a:xfrm>
            <a:off x="1936" y="140"/>
            <a:ext cx="10076750" cy="7559619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118092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74495955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p:oleObj spid="_x0000_s634071" name="think-cell Folie" r:id="rId3" imgW="360" imgH="360" progId="">
              <p:embed/>
            </p:oleObj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4"/>
          <a:stretch>
            <a:fillRect/>
          </a:stretch>
        </p:blipFill>
        <p:spPr bwMode="ltGray">
          <a:xfrm>
            <a:off x="1937" y="140"/>
            <a:ext cx="10076748" cy="755961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240268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038852118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p:oleObj spid="_x0000_s608498" name="think-cell Folie" r:id="rId3" imgW="360" imgH="360" progId="">
              <p:embed/>
            </p:oleObj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ltGray">
          <a:xfrm>
            <a:off x="1937" y="1"/>
            <a:ext cx="10078941" cy="7561263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3960000"/>
            <a:ext cx="9360000" cy="2486908"/>
          </a:xfrm>
        </p:spPr>
        <p:txBody>
          <a:bodyPr anchor="b" anchorCtr="0"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444877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738824589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p:oleObj spid="_x0000_s619734" name="think-cell Folie" r:id="rId3" imgW="360" imgH="360" progId="">
              <p:embed/>
            </p:oleObj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0080625" cy="7561263"/>
          </a:xfrm>
        </p:spPr>
        <p:txBody>
          <a:bodyPr/>
          <a:lstStyle/>
          <a:p>
            <a:r>
              <a:rPr lang="hu-HU" smtClean="0"/>
              <a:t>Kép beszúrásához kattintson az ikonra</a:t>
            </a:r>
            <a:endParaRPr lang="de-DE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xmlns="" val="27117228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748214540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p:oleObj spid="_x0000_s618711" name="think-cell Folie" r:id="rId3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88000"/>
            <a:ext cx="4607288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96000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112000" y="1"/>
            <a:ext cx="4968000" cy="7561263"/>
          </a:xfrm>
        </p:spPr>
        <p:txBody>
          <a:bodyPr/>
          <a:lstStyle/>
          <a:p>
            <a:r>
              <a:rPr lang="hu-HU" smtClean="0"/>
              <a:t>Kép beszúrásához kattintson az ikonra</a:t>
            </a:r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xmlns="" val="15196895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67594423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p:oleObj spid="_x0000_s640208" name="think-cell Folie" r:id="rId3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12000" y="288000"/>
            <a:ext cx="4610100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112000" y="1620000"/>
            <a:ext cx="4608000" cy="489600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968000" cy="7561263"/>
          </a:xfrm>
        </p:spPr>
        <p:txBody>
          <a:bodyPr/>
          <a:lstStyle/>
          <a:p>
            <a:r>
              <a:rPr lang="hu-HU" smtClean="0"/>
              <a:t>Kép beszúrásához kattintson az ikonra</a:t>
            </a:r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xmlns="" val="34248001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41601645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p:oleObj spid="_x0000_s636115" name="think-cell Folie" r:id="rId3" imgW="360" imgH="360" progId="">
              <p:embed/>
            </p:oleObj>
          </a:graphicData>
        </a:graphic>
      </p:graphicFrame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329551808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p:oleObj spid="_x0000_s637141" name="think-cell Folie" r:id="rId3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167021355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p:oleObj spid="_x0000_s126318" name="think-cell Folie" r:id="rId3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60000" y="1620000"/>
            <a:ext cx="9360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206503710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p:oleObj spid="_x0000_s127342" name="think-cell Folie" r:id="rId3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30526624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p:oleObj spid="_x0000_s306524" name="think-cell Folie" r:id="rId3" imgW="360" imgH="360" progId="">
              <p:embed/>
            </p:oleObj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60000" y="3560510"/>
            <a:ext cx="9359901" cy="2595490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60000" y="2269846"/>
            <a:ext cx="9034573" cy="3886154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black">
          <a:xfrm>
            <a:off x="1390" y="1853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60000" y="2631232"/>
            <a:ext cx="8697256" cy="3524768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48) 60 pt 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0" y="5346000"/>
            <a:ext cx="84237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22" name="Grafik 21" descr="TSY_Logo_3c_p.emf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60000" y="6678000"/>
            <a:ext cx="3606868" cy="65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189316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810462381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p:oleObj spid="_x0000_s615649" name="think-cell Folie" r:id="rId3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713798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537874" y="1620000"/>
            <a:ext cx="3008152" cy="4896000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xmlns="" val="33061636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660063335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p:oleObj spid="_x0000_s616672" name="think-cell Folie" r:id="rId3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2232000" cy="4896000"/>
          </a:xfrm>
        </p:spPr>
        <p:txBody>
          <a:bodyPr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80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 baseline="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737378" y="1620000"/>
            <a:ext cx="2232000" cy="489600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748823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 baseline="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xmlns="" val="27013148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388787390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p:oleObj spid="_x0000_s609519" name="think-cell Folie" r:id="rId3" imgW="360" imgH="360" progId="">
              <p:embed/>
            </p:oleObj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 baseline="0"/>
            </a:lvl3pPr>
            <a:lvl4pPr marL="360000" indent="-180000">
              <a:buClr>
                <a:schemeClr val="tx1"/>
              </a:buClr>
              <a:defRPr sz="1400" baseline="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text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Quotation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112000" y="1620000"/>
            <a:ext cx="4608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677397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934087304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p:oleObj spid="_x0000_s610542" name="think-cell Folie" r:id="rId3" imgW="360" imgH="360" progId="">
              <p:embed/>
            </p:oleObj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3008021" cy="5306263"/>
          </a:xfrm>
        </p:spPr>
        <p:txBody>
          <a:bodyPr/>
          <a:lstStyle>
            <a:lvl1pPr>
              <a:defRPr sz="1400"/>
            </a:lvl1pPr>
            <a:lvl2pPr>
              <a:defRPr sz="1400" baseline="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Quotation/lead-in</a:t>
            </a:r>
            <a:endParaRPr lang="en-US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537939" y="1620000"/>
            <a:ext cx="3008021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baseline="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6713929" y="1620000"/>
            <a:ext cx="3008021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baseline="0" dirty="0" smtClean="0"/>
            </a:lvl2pPr>
            <a:lvl3pPr marL="180975" indent="-180000">
              <a:defRPr lang="de-DE" sz="1400" baseline="0" dirty="0" smtClean="0"/>
            </a:lvl3pPr>
            <a:lvl4pPr marL="360000" indent="-180000">
              <a:defRPr lang="de-DE" sz="1400" baseline="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996278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565977603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p:oleObj spid="_x0000_s611566" name="think-cell Folie" r:id="rId3" imgW="360" imgH="360" progId="">
              <p:embed/>
            </p:oleObj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2232000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 baseline="0"/>
            </a:lvl3pPr>
            <a:lvl4pPr marL="360000" indent="-180000">
              <a:buClr>
                <a:schemeClr val="tx1"/>
              </a:buClr>
              <a:defRPr sz="1400" baseline="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Quotation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736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baseline="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112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7488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697853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66669" y="366765"/>
            <a:ext cx="9504233" cy="58719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>
          <a:xfrm>
            <a:off x="7565331" y="6951844"/>
            <a:ext cx="1984735" cy="320455"/>
          </a:xfrm>
        </p:spPr>
        <p:txBody>
          <a:bodyPr/>
          <a:lstStyle>
            <a:lvl1pPr>
              <a:defRPr/>
            </a:lvl1pPr>
          </a:lstStyle>
          <a:p>
            <a:fld id="{15F47461-9E08-48B0-B8F3-475EC6927FBB}" type="datetimeFigureOut">
              <a:rPr lang="hu-HU" smtClean="0"/>
              <a:pPr/>
              <a:t>2017. 11. 29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>
          <a:xfrm>
            <a:off x="2847242" y="6951844"/>
            <a:ext cx="4522253" cy="320455"/>
          </a:xfrm>
        </p:spPr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>
          <a:xfrm>
            <a:off x="9479233" y="6951844"/>
            <a:ext cx="319446" cy="320455"/>
          </a:xfrm>
        </p:spPr>
        <p:txBody>
          <a:bodyPr/>
          <a:lstStyle>
            <a:lvl1pPr>
              <a:defRPr/>
            </a:lvl1pPr>
          </a:lstStyle>
          <a:p>
            <a:fld id="{481F85F3-2274-4739-8A27-7E3EE4CD86F0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19270854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448006018"/>
              </p:ext>
            </p:extLst>
          </p:nvPr>
        </p:nvGraphicFramePr>
        <p:xfrm>
          <a:off x="1387" y="1855"/>
          <a:ext cx="1388" cy="1852"/>
        </p:xfrm>
        <a:graphic>
          <a:graphicData uri="http://schemas.openxmlformats.org/presentationml/2006/ole">
            <p:oleObj spid="_x0000_s604422" name="think-cell Folie" r:id="rId6" imgW="360" imgH="360" progId="">
              <p:embed/>
            </p:oleObj>
          </a:graphicData>
        </a:graphic>
      </p:graphicFrame>
      <p:pic>
        <p:nvPicPr>
          <p:cNvPr id="27" name="Picture 6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660" r="1307"/>
          <a:stretch/>
        </p:blipFill>
        <p:spPr bwMode="auto">
          <a:xfrm>
            <a:off x="0" y="0"/>
            <a:ext cx="10080000" cy="7560000"/>
          </a:xfrm>
          <a:prstGeom prst="rect">
            <a:avLst/>
          </a:prstGeom>
          <a:noFill/>
        </p:spPr>
      </p:pic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61483" y="3441654"/>
            <a:ext cx="9365545" cy="3762108"/>
            <a:chOff x="251" y="1858"/>
            <a:chExt cx="5282" cy="2031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251" y="2527"/>
              <a:ext cx="5282" cy="1362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51" y="1858"/>
              <a:ext cx="4817" cy="203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51" y="2017"/>
              <a:ext cx="4502" cy="1872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71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61950" y="3734323"/>
            <a:ext cx="7980841" cy="1661993"/>
          </a:xfrm>
          <a:noFill/>
        </p:spPr>
        <p:txBody>
          <a:bodyPr wrap="square" lIns="14399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1950" y="5708745"/>
            <a:ext cx="7980841" cy="384080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3" name="Picture 22" hidden="1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22" hidden="1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8" name="Grafik 27" descr="TSY_Logo_3c_p.em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539823" y="6501629"/>
            <a:ext cx="3606868" cy="655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081714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882734722"/>
              </p:ext>
            </p:extLst>
          </p:nvPr>
        </p:nvGraphicFramePr>
        <p:xfrm>
          <a:off x="1387" y="1855"/>
          <a:ext cx="1388" cy="1852"/>
        </p:xfrm>
        <a:graphic>
          <a:graphicData uri="http://schemas.openxmlformats.org/presentationml/2006/ole">
            <p:oleObj spid="_x0000_s123247" name="think-cell Folie" r:id="rId3" imgW="360" imgH="360" progId="">
              <p:embed/>
            </p:oleObj>
          </a:graphicData>
        </a:graphic>
      </p:graphicFrame>
      <p:pic>
        <p:nvPicPr>
          <p:cNvPr id="22" name="Picture 19"/>
          <p:cNvPicPr preferRelativeResize="0"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-2" b="38889"/>
          <a:stretch/>
        </p:blipFill>
        <p:spPr bwMode="gray">
          <a:xfrm>
            <a:off x="360000" y="360000"/>
            <a:ext cx="9360000" cy="3817553"/>
          </a:xfrm>
          <a:prstGeom prst="rect">
            <a:avLst/>
          </a:prstGeom>
          <a:noFill/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5" cstate="print"/>
          <a:srcRect r="11" b="-468"/>
          <a:stretch>
            <a:fillRect/>
          </a:stretch>
        </p:blipFill>
        <p:spPr bwMode="gray">
          <a:xfrm>
            <a:off x="360000" y="3660229"/>
            <a:ext cx="9360000" cy="53532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60000" y="4017731"/>
            <a:ext cx="9360000" cy="2138269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60000" y="5345957"/>
            <a:ext cx="9366613" cy="384080"/>
          </a:xfrm>
        </p:spPr>
        <p:txBody>
          <a:bodyPr wrap="square"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3" name="Grafik 22" descr="TSY_Logo_3c_p.emf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60000" y="6678000"/>
            <a:ext cx="3606868" cy="6552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384802868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p:oleObj spid="_x0000_s627928" name="think-cell Folie" r:id="rId3" imgW="360" imgH="360" progId="">
              <p:embed/>
            </p:oleObj>
          </a:graphicData>
        </a:graphic>
      </p:graphicFrame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4287272326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p:oleObj spid="_x0000_s628951" name="think-cell Folie" r:id="rId3" imgW="360" imgH="360" progId="">
              <p:embed/>
            </p:oleObj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ltGray">
          <a:xfrm>
            <a:off x="1937" y="821"/>
            <a:ext cx="10076751" cy="7559620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675154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404964844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p:oleObj spid="_x0000_s629975" name="think-cell Folie" r:id="rId3" imgW="360" imgH="360" progId="">
              <p:embed/>
            </p:oleObj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ltGray">
          <a:xfrm>
            <a:off x="842" y="1"/>
            <a:ext cx="10078941" cy="7561263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882555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74495955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p:oleObj spid="_x0000_s645320" name="think-cell Folie" r:id="rId3" imgW="360" imgH="360" progId="">
              <p:embed/>
            </p:oleObj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4"/>
          <a:stretch>
            <a:fillRect/>
          </a:stretch>
        </p:blipFill>
        <p:spPr bwMode="ltGray">
          <a:xfrm>
            <a:off x="1937" y="140"/>
            <a:ext cx="10076747" cy="7559617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240268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940075499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p:oleObj spid="_x0000_s632023" name="think-cell Folie" r:id="rId3" imgW="360" imgH="360" progId="">
              <p:embed/>
            </p:oleObj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4"/>
          <a:stretch>
            <a:fillRect/>
          </a:stretch>
        </p:blipFill>
        <p:spPr bwMode="ltGray">
          <a:xfrm>
            <a:off x="1935" y="141"/>
            <a:ext cx="10076751" cy="7559620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06715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90326554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p:oleObj spid="_x0000_s130568" name="think-cell Folie" r:id="rId28" imgW="360" imgH="360" progId="">
              <p:embed/>
            </p:oleObj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60001" y="288000"/>
            <a:ext cx="9359999" cy="588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60000" y="1620000"/>
            <a:ext cx="9360000" cy="489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8439150" y="6980111"/>
            <a:ext cx="902850" cy="320455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 smtClean="0"/>
              <a:t>dd.mm.yyyy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407166" y="6980111"/>
            <a:ext cx="319447" cy="3204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816351" y="6980111"/>
            <a:ext cx="4539600" cy="3204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 smtClean="0"/>
              <a:t>– Strictly confidential, Confidential, Internal–     Author /Presentation Topic</a:t>
            </a:r>
          </a:p>
        </p:txBody>
      </p:sp>
      <p:pic>
        <p:nvPicPr>
          <p:cNvPr id="22" name="Grafik 21" descr="TSY_Logo_3c_p.emf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360000" y="6919200"/>
            <a:ext cx="2873604" cy="522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711" r:id="rId4"/>
    <p:sldLayoutId id="2147483725" r:id="rId5"/>
    <p:sldLayoutId id="2147483928" r:id="rId6"/>
    <p:sldLayoutId id="2147483926" r:id="rId7"/>
    <p:sldLayoutId id="2147483976" r:id="rId8"/>
    <p:sldLayoutId id="2147483964" r:id="rId9"/>
    <p:sldLayoutId id="2147483965" r:id="rId10"/>
    <p:sldLayoutId id="2147483967" r:id="rId11"/>
    <p:sldLayoutId id="2147483968" r:id="rId12"/>
    <p:sldLayoutId id="2147483972" r:id="rId13"/>
    <p:sldLayoutId id="2147483971" r:id="rId14"/>
    <p:sldLayoutId id="2147483973" r:id="rId15"/>
    <p:sldLayoutId id="2147483716" r:id="rId16"/>
    <p:sldLayoutId id="2147483718" r:id="rId17"/>
    <p:sldLayoutId id="2147483722" r:id="rId18"/>
    <p:sldLayoutId id="2147483723" r:id="rId19"/>
    <p:sldLayoutId id="2147483969" r:id="rId20"/>
    <p:sldLayoutId id="2147483970" r:id="rId21"/>
    <p:sldLayoutId id="2147483930" r:id="rId22"/>
    <p:sldLayoutId id="2147483959" r:id="rId23"/>
    <p:sldLayoutId id="2147483960" r:id="rId24"/>
    <p:sldLayoutId id="2147483977" r:id="rId25"/>
  </p:sldLayoutIdLst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382" userDrawn="1">
          <p15:clr>
            <a:srgbClr val="F26B43"/>
          </p15:clr>
        </p15:guide>
        <p15:guide id="2" pos="3220" userDrawn="1">
          <p15:clr>
            <a:srgbClr val="F26B43"/>
          </p15:clr>
        </p15:guide>
        <p15:guide id="3" orient="horz" pos="1021" userDrawn="1">
          <p15:clr>
            <a:srgbClr val="F26B43"/>
          </p15:clr>
        </p15:guide>
        <p15:guide id="5" orient="horz" pos="4105" userDrawn="1">
          <p15:clr>
            <a:srgbClr val="F26B43"/>
          </p15:clr>
        </p15:guide>
        <p15:guide id="6" pos="227" userDrawn="1">
          <p15:clr>
            <a:srgbClr val="F26B43"/>
          </p15:clr>
        </p15:guide>
        <p15:guide id="7" pos="6123" userDrawn="1">
          <p15:clr>
            <a:srgbClr val="F26B43"/>
          </p15:clr>
        </p15:guide>
        <p15:guide id="8" orient="horz" pos="3843" userDrawn="1">
          <p15:clr>
            <a:srgbClr val="F26B43"/>
          </p15:clr>
        </p15:guide>
        <p15:guide id="10" orient="horz" pos="749" userDrawn="1">
          <p15:clr>
            <a:srgbClr val="F26B43"/>
          </p15:clr>
        </p15:guide>
        <p15:guide id="11" orient="horz" pos="227" userDrawn="1">
          <p15:clr>
            <a:srgbClr val="F26B43"/>
          </p15:clr>
        </p15:guide>
        <p15:guide id="12" pos="1724" userDrawn="1">
          <p15:clr>
            <a:srgbClr val="F26B43"/>
          </p15:clr>
        </p15:guide>
        <p15:guide id="13" pos="1633" userDrawn="1">
          <p15:clr>
            <a:srgbClr val="F26B43"/>
          </p15:clr>
        </p15:guide>
        <p15:guide id="14" pos="3175" userDrawn="1">
          <p15:clr>
            <a:srgbClr val="F26B43"/>
          </p15:clr>
        </p15:guide>
        <p15:guide id="15" pos="3130" userDrawn="1">
          <p15:clr>
            <a:srgbClr val="F26B43"/>
          </p15:clr>
        </p15:guide>
        <p15:guide id="16" pos="4717" userDrawn="1">
          <p15:clr>
            <a:srgbClr val="F26B43"/>
          </p15:clr>
        </p15:guide>
        <p15:guide id="17" pos="4627" userDrawn="1">
          <p15:clr>
            <a:srgbClr val="F26B43"/>
          </p15:clr>
        </p15:guide>
        <p15:guide id="18" orient="horz" pos="4365" userDrawn="1">
          <p15:clr>
            <a:srgbClr val="F26B43"/>
          </p15:clr>
        </p15:guide>
        <p15:guide id="19" orient="horz" pos="45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Relationship Id="rId4" Type="http://schemas.openxmlformats.org/officeDocument/2006/relationships/hyperlink" Target="http://www.slideshare.net/gsiemens/designing-and-running-a-mooc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jpeg"/><Relationship Id="rId3" Type="http://schemas.openxmlformats.org/officeDocument/2006/relationships/image" Target="../media/image41.jpeg"/><Relationship Id="rId7" Type="http://schemas.openxmlformats.org/officeDocument/2006/relationships/image" Target="../media/image42.jpeg"/><Relationship Id="rId12" Type="http://schemas.openxmlformats.org/officeDocument/2006/relationships/image" Target="../media/image4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Relationship Id="rId6" Type="http://schemas.openxmlformats.org/officeDocument/2006/relationships/hyperlink" Target="http://www.google.hu/imgres?imgurl=http://www.adchieve.com/wp-content/uploads/Google_art_prog.jpg&amp;imgrefurl=http://www.adchieve.com/new-ad-extension-for-google-adwords-the-callout-extension/&amp;h=720&amp;w=1280&amp;tbnid=ACpaLdu_krYSDM:&amp;zoom=1&amp;docid=KM0lOrh2_NFIUM&amp;ei=ZocVVb_vFYLzUPaYgcAF&amp;tbm=isch&amp;ved=0CEAQMygNMA0" TargetMode="External"/><Relationship Id="rId11" Type="http://schemas.openxmlformats.org/officeDocument/2006/relationships/image" Target="../media/image46.jpeg"/><Relationship Id="rId5" Type="http://schemas.openxmlformats.org/officeDocument/2006/relationships/hyperlink" Target="http://www.wikidata.org/wiki/Q316820?uselang=hu" TargetMode="External"/><Relationship Id="rId10" Type="http://schemas.openxmlformats.org/officeDocument/2006/relationships/image" Target="../media/image45.jpeg"/><Relationship Id="rId4" Type="http://schemas.openxmlformats.org/officeDocument/2006/relationships/hyperlink" Target="http://www.worldcat.org/title/king-stephen-istvan-kiraly-opera-in-four-acts/oclc/870655555&amp;referer=brief_results" TargetMode="External"/><Relationship Id="rId9" Type="http://schemas.openxmlformats.org/officeDocument/2006/relationships/image" Target="../media/image44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ogle.hu/imgres?imgurl=http://ruben.verborgh.org/images/blog/boring.jpg&amp;imgrefurl=http://ruben.verborgh.org/blog/2014/12/31/thank-you-for-your-attention/&amp;docid=zUon4W4fBtyDaM&amp;tbnid=ygYAp2Bf4-JIHM:&amp;w=1280&amp;h=768&amp;bih=667&amp;biw=1366&amp;ved=0ahUKEwj3mKK7td_NAhXENxQKHe7SBCEQMwglKAgwCA&amp;iact=mrc&amp;uact=8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53.png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3" Type="http://schemas.openxmlformats.org/officeDocument/2006/relationships/image" Target="../media/image19.jpeg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2" Type="http://schemas.openxmlformats.org/officeDocument/2006/relationships/hyperlink" Target="https://www.google.hu/url?sa=i&amp;rct=j&amp;q=&amp;esrc=s&amp;source=images&amp;cd=&amp;cad=rja&amp;uact=8&amp;ved=0ahUKEwi1i76i_9jVAhUDGZoKHfKGBIcQjRwIBw&amp;url=https://www.boell.de/en/2017/04/10/report-trenches-debate-around-teaching-gender-studies-hungary&amp;psig=AFQjCNGOctKYva9CaDFpD1PsM0_y2rPsLQ&amp;ust=1502876931805856" TargetMode="Externa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5" Type="http://schemas.openxmlformats.org/officeDocument/2006/relationships/image" Target="../media/image31.png"/><Relationship Id="rId10" Type="http://schemas.openxmlformats.org/officeDocument/2006/relationships/image" Target="../media/image26.png"/><Relationship Id="rId4" Type="http://schemas.openxmlformats.org/officeDocument/2006/relationships/image" Target="../media/image20.jpeg"/><Relationship Id="rId9" Type="http://schemas.openxmlformats.org/officeDocument/2006/relationships/image" Target="../media/image25.png"/><Relationship Id="rId1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3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476658" y="1512000"/>
            <a:ext cx="9366613" cy="2558661"/>
          </a:xfrm>
        </p:spPr>
        <p:txBody>
          <a:bodyPr/>
          <a:lstStyle/>
          <a:p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b="1" i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b="1" i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973597" y="4668595"/>
            <a:ext cx="7207515" cy="1152239"/>
          </a:xfrm>
        </p:spPr>
        <p:txBody>
          <a:bodyPr/>
          <a:lstStyle/>
          <a:p>
            <a:pPr algn="ctr"/>
            <a:r>
              <a:rPr lang="hu-HU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Okos könyvtár – kultúra a digitális világban</a:t>
            </a:r>
          </a:p>
          <a:p>
            <a:pPr algn="ctr"/>
            <a:r>
              <a:rPr lang="hu-HU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2017. november 20</a:t>
            </a:r>
          </a:p>
          <a:p>
            <a:pPr algn="ctr"/>
            <a:r>
              <a:rPr lang="hu-HU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alis</a:t>
            </a:r>
            <a:r>
              <a:rPr lang="hu-HU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István Városi Könyvtár . Nagykanizsa</a:t>
            </a:r>
            <a:endParaRPr lang="hu-HU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églalap 3"/>
          <p:cNvSpPr/>
          <p:nvPr/>
        </p:nvSpPr>
        <p:spPr>
          <a:xfrm>
            <a:off x="429418" y="914066"/>
            <a:ext cx="8647917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hu-HU" sz="44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A technológiai trendektől a személyes inspirációig </a:t>
            </a:r>
            <a:endParaRPr lang="hu-HU" sz="4400" dirty="0" smtClean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lvl="0" algn="ctr"/>
            <a:r>
              <a:rPr lang="hu-HU" sz="4400" dirty="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>– </a:t>
            </a:r>
            <a:r>
              <a:rPr lang="hu-HU" sz="44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a változás keresztútjai</a:t>
            </a:r>
            <a:r>
              <a:rPr lang="hu-HU" sz="4400" b="1" dirty="0" smtClean="0">
                <a:solidFill>
                  <a:schemeClr val="bg1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 </a:t>
            </a:r>
            <a:endParaRPr lang="hu-HU" sz="4400" b="1" dirty="0">
              <a:solidFill>
                <a:schemeClr val="bg1"/>
              </a:solidFill>
              <a:latin typeface="Arial Rounded MT Bold" panose="020F070403050403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Tartalom hely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181112" y="4989875"/>
            <a:ext cx="1234351" cy="1909908"/>
          </a:xfrm>
          <a:prstGeom prst="rect">
            <a:avLst/>
          </a:prstGeom>
        </p:spPr>
      </p:pic>
      <p:sp>
        <p:nvSpPr>
          <p:cNvPr id="7" name="Szövegdoboz 6"/>
          <p:cNvSpPr txBox="1"/>
          <p:nvPr/>
        </p:nvSpPr>
        <p:spPr>
          <a:xfrm>
            <a:off x="4894792" y="6851691"/>
            <a:ext cx="3771733" cy="341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smtClean="0">
                <a:solidFill>
                  <a:schemeClr val="bg1"/>
                </a:solidFill>
                <a:ea typeface="Swagger" pitchFamily="2" charset="0"/>
              </a:rPr>
              <a:t>Horváth Zoltánné</a:t>
            </a:r>
          </a:p>
        </p:txBody>
      </p:sp>
    </p:spTree>
    <p:extLst>
      <p:ext uri="{BB962C8B-B14F-4D97-AF65-F5344CB8AC3E}">
        <p14:creationId xmlns:p14="http://schemas.microsoft.com/office/powerpoint/2010/main" xmlns="" val="8345402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59999" y="288000"/>
            <a:ext cx="9720626" cy="942286"/>
          </a:xfrm>
        </p:spPr>
        <p:txBody>
          <a:bodyPr/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Tervezzünk dinamikus könyvtári jelenlétet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360000" y="1082431"/>
            <a:ext cx="3286583" cy="5593791"/>
          </a:xfrm>
        </p:spPr>
        <p:txBody>
          <a:bodyPr/>
          <a:lstStyle/>
          <a:p>
            <a:pPr lvl="0"/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yen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rányító, kulturális és szakmai intézményekkel kell együttműködnünk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yen társadalmi, szakmai közegben kell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nyvtárunkat pozícionálnunk?</a:t>
            </a:r>
          </a:p>
          <a:p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yen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ársadalmi és gazdasági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yamatokat tudunk támogatni? </a:t>
            </a:r>
            <a:endParaRPr lang="hu-HU" sz="2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yen unikális adottságaink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vékenységeink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őforrásaink, és szakembereink vannak?</a:t>
            </a:r>
          </a:p>
          <a:p>
            <a:pPr lvl="0"/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senyhelyzetben szembenállás és átfedés helyett kooperáció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hu-H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0</a:t>
            </a:fld>
            <a:endParaRPr lang="en-US" dirty="0"/>
          </a:p>
        </p:txBody>
      </p:sp>
      <p:sp>
        <p:nvSpPr>
          <p:cNvPr id="7" name="Szövegdoboz 6"/>
          <p:cNvSpPr txBox="1"/>
          <p:nvPr/>
        </p:nvSpPr>
        <p:spPr>
          <a:xfrm>
            <a:off x="4120309" y="883710"/>
            <a:ext cx="5785692" cy="6166679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1800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dia </a:t>
            </a:r>
            <a:r>
              <a:rPr lang="hu-HU" sz="1800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zközök 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szaklapok, helyi újságok, </a:t>
            </a: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ádió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V adások, programok, akciók, szlogenek, bannerek web oldalakon, stb.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ferenciák, rendezvények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más könyvtárak tájékoztatási, hirdetési felületeinek használata;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hu-HU" sz="1800" dirty="0" err="1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art</a:t>
            </a:r>
            <a:r>
              <a:rPr lang="hu-HU" sz="1800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rendszerekhez csatlakozás 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telligens város fejlesztések, </a:t>
            </a:r>
            <a:r>
              <a:rPr lang="hu-HU" sz="1800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izen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ártyák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1800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ás kulturális szolgáltató helyeken megjelenés</a:t>
            </a: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klám, hirdetés, kulturális eseményekhez kötött tájékoztatások (pl. színházi </a:t>
            </a: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őadás, hangverseny, kiállítás, </a:t>
            </a:r>
            <a:r>
              <a:rPr lang="hu-HU" sz="18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b</a:t>
            </a: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)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1800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kolások </a:t>
            </a:r>
            <a:r>
              <a:rPr lang="hu-HU" sz="1800" dirty="0" err="1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torálása</a:t>
            </a: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télkedők, versenyek, könyvtári oktatás, leszakadó tanulók számára külön információhasználati </a:t>
            </a:r>
            <a:r>
              <a:rPr lang="hu-HU" sz="18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torálás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soport </a:t>
            </a: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glalkozások és műveltségi 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átékok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nyvtári </a:t>
            </a:r>
            <a:r>
              <a:rPr lang="hu-HU" sz="1800" i="1" dirty="0" err="1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ach</a:t>
            </a:r>
            <a:r>
              <a:rPr lang="hu-HU" sz="1800" i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hu-HU" sz="1800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lmélyült </a:t>
            </a:r>
            <a:r>
              <a:rPr lang="hu-HU" sz="1800" dirty="0" err="1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erence</a:t>
            </a: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hu-HU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1800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1800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zösségi </a:t>
            </a:r>
            <a:r>
              <a:rPr lang="hu-HU" sz="1800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áló, web </a:t>
            </a:r>
            <a:r>
              <a:rPr lang="hu-HU" sz="1800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dalak fejlesztése 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s karbantartása (honlap, portál létrehozása);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gy könyvtárak katalógusaiban megjelenés 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hu-HU" sz="18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ldCat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8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ropeana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tb.), </a:t>
            </a: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olgáltatásaink népszerűsítése; </a:t>
            </a:r>
            <a:endParaRPr lang="hu-HU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R kódhoz csatolt, okos mobilról elérhető </a:t>
            </a: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ing</a:t>
            </a:r>
            <a:endParaRPr lang="hu-HU" sz="1800" dirty="0" smtClean="0">
              <a:solidFill>
                <a:schemeClr val="bg1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867560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74626" y="208408"/>
            <a:ext cx="9364663" cy="588082"/>
          </a:xfrm>
        </p:spPr>
        <p:txBody>
          <a:bodyPr/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A könyvtár mint inspiráló intellektuális közösségi tér</a:t>
            </a:r>
            <a:b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74626" y="2119767"/>
            <a:ext cx="9474247" cy="6632348"/>
          </a:xfrm>
          <a:solidFill>
            <a:schemeClr val="bg1"/>
          </a:solidFill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hu-HU" sz="20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rd</a:t>
            </a: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</a:t>
            </a: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a könyvtár </a:t>
            </a: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tüntetett </a:t>
            </a: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zösségi </a:t>
            </a: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y </a:t>
            </a:r>
          </a:p>
          <a:p>
            <a:pPr marL="719138" lvl="2" indent="-360363">
              <a:buFont typeface="Arial" panose="020B0604020202020204" pitchFamily="34" charset="0"/>
              <a:buChar char="•"/>
            </a:pPr>
            <a:r>
              <a:rPr lang="hu-HU" sz="2000" u="sng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nulás és felkészülés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j információs technológiák alapján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használó-centrikus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űködési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l, értékközvetítés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namikus viszony a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ársadalmi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rnyezethez: 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élyegyelőség erősítése, felzárkóztatás, élethosszig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tó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nulás, 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r>
              <a:rPr lang="hu-HU" sz="2000" u="sng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zösségi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pcsolatteremtés, kulturális beállítottság szétsugárzása, 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llektuális felkészülés források, rendszerek, szolgáltatások, oktatás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endParaRPr lang="hu-HU" sz="2000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41325" lvl="3" indent="-441325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utatási és oktatási szakirodalmi központ – tudományszervezési szerep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zciplína által meghatározott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építés és információs stratégia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émára alapozott, szelektált, analitikus szolgáltatási rendszer, részvétel a kutatásban, „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idence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d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alapú szolgáltatások, akkreditált tartalmak, 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ációs rendszer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építése visszatükrözi az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ézmény és a szakterület tudományos jellegét, szakmai felépítését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alt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nulási és kulturálódási technológiák </a:t>
            </a:r>
            <a:r>
              <a:rPr lang="hu-HU" alt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ív </a:t>
            </a:r>
            <a:r>
              <a:rPr lang="hu-HU" alt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ámogatója</a:t>
            </a:r>
          </a:p>
          <a:p>
            <a:pPr marL="558900" lvl="2" indent="-342900">
              <a:buFont typeface="Arial" panose="020B0604020202020204" pitchFamily="34" charset="0"/>
              <a:buChar char="•"/>
            </a:pPr>
            <a:r>
              <a:rPr lang="hu-HU" alt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vekvő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llektuális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petenciák, inspiráció a folyamatos fejlődésre</a:t>
            </a:r>
            <a:endParaRPr lang="hu-HU" sz="2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altLang="hu-HU" sz="2400" b="1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altLang="hu-HU" sz="2400" b="1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sz="2400" dirty="0">
              <a:solidFill>
                <a:srgbClr val="E200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1</a:t>
            </a:fld>
            <a:endParaRPr lang="en-US" dirty="0"/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47025" y="1189038"/>
            <a:ext cx="2133600" cy="2143125"/>
          </a:xfrm>
          <a:prstGeom prst="rect">
            <a:avLst/>
          </a:prstGeom>
        </p:spPr>
      </p:pic>
      <p:pic>
        <p:nvPicPr>
          <p:cNvPr id="7" name="Kép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9998" y="868576"/>
            <a:ext cx="7352755" cy="960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843132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On-line tanulás, digitális könyvtári kurzusok, tanulás támogatás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60000" y="1313309"/>
            <a:ext cx="9353650" cy="1151519"/>
          </a:xfrm>
          <a:solidFill>
            <a:schemeClr val="bg1"/>
          </a:solidFill>
        </p:spPr>
        <p:txBody>
          <a:bodyPr/>
          <a:lstStyle/>
          <a:p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online tanuláshoz számítógépet internetet és web böngészőt, szoftvereket, videó és 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dió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ájlokat, letölthető tananyagokat, 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-learning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programozott) elektronikus szoftvereket biztosít a könyvtár, és felkészül a média bővítésére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2</a:t>
            </a:fld>
            <a:endParaRPr lang="en-US" dirty="0"/>
          </a:p>
        </p:txBody>
      </p:sp>
      <p:pic>
        <p:nvPicPr>
          <p:cNvPr id="5" name="Kép 4" descr="Need to have MOOCs from different        parts of the world     (export, not only import) 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430838" y="2454424"/>
            <a:ext cx="4114799" cy="4564589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Szövegdoboz 5"/>
          <p:cNvSpPr txBox="1"/>
          <p:nvPr/>
        </p:nvSpPr>
        <p:spPr>
          <a:xfrm>
            <a:off x="181814" y="2636311"/>
            <a:ext cx="5110071" cy="4277252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hu-HU" sz="18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sive</a:t>
            </a:r>
            <a:r>
              <a:rPr lang="hu-HU" sz="1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pen Online </a:t>
            </a:r>
            <a:r>
              <a:rPr lang="hu-HU" sz="18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rse</a:t>
            </a:r>
            <a:r>
              <a:rPr lang="hu-HU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hu-HU" sz="1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OC</a:t>
            </a:r>
            <a:r>
              <a:rPr lang="hu-HU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ine kurzus 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weben, amely tradicionális oktatási formák mellett (előadások, olvasmányok, stb.) támogatja az interaktív használói kurzusokat hallgatok, professzorok és egyéb oktatók közreműködésével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ílt és szabad hozzáféré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zösségi média eszközökre épü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hu-HU" sz="18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og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fórum, chat, stb.) speciális kommunikációs megoldásokkal, web és portál szolgáltatásokk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1800" u="sng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ák: Online fórum, </a:t>
            </a:r>
            <a:r>
              <a:rPr lang="hu-HU" sz="1800" u="sng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cast</a:t>
            </a:r>
            <a:r>
              <a:rPr lang="hu-HU" sz="1800" u="sng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(előre felvett tananyaggal), </a:t>
            </a:r>
            <a:r>
              <a:rPr lang="hu-HU" sz="1800" u="sng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inar</a:t>
            </a:r>
            <a:r>
              <a:rPr lang="hu-HU" sz="1800" u="sng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elő előadás, élő kapcsolattal, kérdezési lehetőséggel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dirty="0" smtClean="0">
              <a:ea typeface="Swagger" pitchFamily="2" charset="0"/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5291885" y="6560889"/>
            <a:ext cx="5038725" cy="60753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tabLst>
                <a:tab pos="1513840" algn="l"/>
              </a:tabLst>
            </a:pPr>
            <a:r>
              <a:rPr lang="hu-HU" sz="1600" u="sng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4"/>
              </a:rPr>
              <a:t>http://www.slideshare.net/gsiemens/designing-and-running-a-mooc</a:t>
            </a:r>
            <a:endParaRPr lang="hu-HU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Dátum helye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4FB63806-232D-46D6-83E0-E63EC8D105A7}" type="datetime1">
              <a:rPr lang="hu-HU" smtClean="0"/>
              <a:pPr fontAlgn="base">
                <a:spcAft>
                  <a:spcPct val="0"/>
                </a:spcAft>
              </a:pPr>
              <a:t>2017. 11. 29.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887331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Dátum helye 1"/>
          <p:cNvSpPr>
            <a:spLocks noGrp="1"/>
          </p:cNvSpPr>
          <p:nvPr>
            <p:ph type="dt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614271" indent="-236258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945032" indent="-189006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323045" indent="-189006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1701058" indent="-189006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079071" indent="-189006" defTabSz="37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457084" indent="-189006" defTabSz="37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2835097" indent="-189006" defTabSz="37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213110" indent="-189006" defTabSz="37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fld id="{588485BF-AD02-4ACD-88E3-A1A2F1BA48AF}" type="datetime1">
              <a:rPr lang="en-US" altLang="hu-HU" smtClean="0">
                <a:solidFill>
                  <a:schemeClr val="tx1"/>
                </a:solidFill>
                <a:latin typeface="Tele-GroteskNor" pitchFamily="2" charset="0"/>
              </a:rPr>
              <a:pPr/>
              <a:t>11/29/2017</a:t>
            </a:fld>
            <a:endParaRPr lang="en-US" altLang="hu-HU" smtClean="0">
              <a:solidFill>
                <a:schemeClr val="tx1"/>
              </a:solidFill>
              <a:latin typeface="Tele-GroteskNor" pitchFamily="2" charset="0"/>
            </a:endParaRPr>
          </a:p>
        </p:txBody>
      </p:sp>
      <p:sp>
        <p:nvSpPr>
          <p:cNvPr id="11268" name="Dia számának helye 3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614271" indent="-236258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945032" indent="-189006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323045" indent="-189006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1701058" indent="-189006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079071" indent="-189006" defTabSz="37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457084" indent="-189006" defTabSz="37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2835097" indent="-189006" defTabSz="37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213110" indent="-189006" defTabSz="37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fld id="{B1C92EFB-BC49-4DEC-B300-70600D4518C5}" type="slidenum">
              <a:rPr lang="en-US" altLang="hu-HU" smtClean="0">
                <a:solidFill>
                  <a:schemeClr val="tx1"/>
                </a:solidFill>
                <a:latin typeface="Tele-GroteskNor" pitchFamily="2" charset="0"/>
              </a:rPr>
              <a:pPr/>
              <a:t>13</a:t>
            </a:fld>
            <a:endParaRPr lang="en-US" altLang="hu-HU" smtClean="0">
              <a:solidFill>
                <a:schemeClr val="tx1"/>
              </a:solidFill>
              <a:latin typeface="Tele-GroteskNor" pitchFamily="2" charset="0"/>
            </a:endParaRPr>
          </a:p>
        </p:txBody>
      </p:sp>
      <p:pic>
        <p:nvPicPr>
          <p:cNvPr id="11269" name="Kép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814" r="10620"/>
          <a:stretch/>
        </p:blipFill>
        <p:spPr bwMode="auto">
          <a:xfrm>
            <a:off x="-140517" y="472926"/>
            <a:ext cx="9208180" cy="7248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églalap 1"/>
          <p:cNvSpPr/>
          <p:nvPr/>
        </p:nvSpPr>
        <p:spPr>
          <a:xfrm>
            <a:off x="-1118961" y="567432"/>
            <a:ext cx="1992326" cy="62373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902" dirty="0" err="1">
              <a:solidFill>
                <a:schemeClr val="tx1"/>
              </a:solidFill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-435814" y="661938"/>
            <a:ext cx="1212011" cy="60483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902" dirty="0" err="1">
              <a:solidFill>
                <a:schemeClr val="tx1"/>
              </a:solidFill>
            </a:endParaRPr>
          </a:p>
        </p:txBody>
      </p:sp>
      <p:sp>
        <p:nvSpPr>
          <p:cNvPr id="8" name="Téglalap 7"/>
          <p:cNvSpPr/>
          <p:nvPr/>
        </p:nvSpPr>
        <p:spPr>
          <a:xfrm>
            <a:off x="-62765" y="567432"/>
            <a:ext cx="1212011" cy="60483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902" dirty="0" err="1">
              <a:solidFill>
                <a:schemeClr val="tx1"/>
              </a:solidFill>
            </a:endParaRPr>
          </a:p>
        </p:txBody>
      </p:sp>
      <p:sp>
        <p:nvSpPr>
          <p:cNvPr id="3" name="Szövegdoboz 2"/>
          <p:cNvSpPr txBox="1"/>
          <p:nvPr/>
        </p:nvSpPr>
        <p:spPr>
          <a:xfrm>
            <a:off x="376630" y="83645"/>
            <a:ext cx="8173886" cy="96757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72"/>
              </a:spcAft>
              <a:buClr>
                <a:schemeClr val="tx2"/>
              </a:buClr>
            </a:pPr>
            <a:r>
              <a:rPr lang="hu-HU" sz="2646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YEN TECHNOLÓGIAI PLATFORMON?</a:t>
            </a:r>
          </a:p>
          <a:p>
            <a:pPr>
              <a:spcAft>
                <a:spcPts val="372"/>
              </a:spcAft>
              <a:buClr>
                <a:schemeClr val="tx2"/>
              </a:buClr>
            </a:pPr>
            <a:r>
              <a:rPr lang="hu-HU" sz="1654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ógiai eszközpark – integráció és globális adathálózati együttműködés (OCLC példa)</a:t>
            </a:r>
          </a:p>
        </p:txBody>
      </p:sp>
      <p:pic>
        <p:nvPicPr>
          <p:cNvPr id="4" name="Kép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16107" y="1189038"/>
            <a:ext cx="2433214" cy="1486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621700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Date Placeholder 2"/>
          <p:cNvSpPr>
            <a:spLocks noGrp="1"/>
          </p:cNvSpPr>
          <p:nvPr>
            <p:ph type="dt" sz="quarter" idx="10"/>
          </p:nvPr>
        </p:nvSpPr>
        <p:spPr>
          <a:xfrm>
            <a:off x="7558013" y="6204526"/>
            <a:ext cx="1984735" cy="240316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614271" indent="-236258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945032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323045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1701058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079071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457084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2835097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213110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fld id="{61466B00-8338-49C8-A041-24676894AC89}" type="datetime1">
              <a:rPr lang="en-US" altLang="hu-HU" smtClean="0">
                <a:latin typeface="Tele-GroteskNor" pitchFamily="2" charset="0"/>
              </a:rPr>
              <a:pPr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t>11/29/2017</a:t>
            </a:fld>
            <a:endParaRPr lang="en-US" altLang="hu-HU" smtClean="0">
              <a:latin typeface="Tele-GroteskNor" pitchFamily="2" charset="0"/>
            </a:endParaRPr>
          </a:p>
        </p:txBody>
      </p:sp>
      <p:sp>
        <p:nvSpPr>
          <p:cNvPr id="17413" name="Slide Number Placeholder 4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614271" indent="-236258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945032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323045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1701058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079071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457084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2835097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213110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fld id="{1ED4A3C5-9CFD-4900-80F5-559C3A0D94E9}" type="slidenum">
              <a:rPr lang="en-US" altLang="hu-HU" smtClean="0">
                <a:latin typeface="Tele-GroteskNor" pitchFamily="2" charset="0"/>
              </a:rPr>
              <a:pPr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t>14</a:t>
            </a:fld>
            <a:endParaRPr lang="en-US" altLang="hu-HU" smtClean="0">
              <a:latin typeface="Tele-GroteskNor" pitchFamily="2" charset="0"/>
            </a:endParaRPr>
          </a:p>
        </p:txBody>
      </p:sp>
      <p:pic>
        <p:nvPicPr>
          <p:cNvPr id="17414" name="Picture 5" descr="Képtalálat a következőre: „library knowledge graph”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11144" y="480428"/>
            <a:ext cx="3587449" cy="2628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5" name="TextBox 7"/>
          <p:cNvSpPr txBox="1">
            <a:spLocks noChangeArrowheads="1"/>
          </p:cNvSpPr>
          <p:nvPr/>
        </p:nvSpPr>
        <p:spPr bwMode="auto">
          <a:xfrm>
            <a:off x="8892452" y="1971636"/>
            <a:ext cx="1023813" cy="192360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ts val="1488"/>
              </a:lnSpc>
              <a:spcBef>
                <a:spcPct val="0"/>
              </a:spcBef>
              <a:spcAft>
                <a:spcPts val="372"/>
              </a:spcAft>
            </a:pPr>
            <a:r>
              <a:rPr lang="hu-HU" altLang="hu-HU" sz="1902"/>
              <a:t>Opera</a:t>
            </a:r>
          </a:p>
        </p:txBody>
      </p:sp>
      <p:sp>
        <p:nvSpPr>
          <p:cNvPr id="17416" name="TextBox 8"/>
          <p:cNvSpPr txBox="1">
            <a:spLocks noChangeArrowheads="1"/>
          </p:cNvSpPr>
          <p:nvPr/>
        </p:nvSpPr>
        <p:spPr bwMode="auto">
          <a:xfrm>
            <a:off x="8367611" y="2618618"/>
            <a:ext cx="1477967" cy="192360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ts val="1488"/>
              </a:lnSpc>
              <a:spcBef>
                <a:spcPct val="0"/>
              </a:spcBef>
              <a:spcAft>
                <a:spcPts val="372"/>
              </a:spcAft>
            </a:pPr>
            <a:r>
              <a:rPr lang="hu-HU" altLang="hu-HU" sz="1902"/>
              <a:t>István király</a:t>
            </a:r>
          </a:p>
        </p:txBody>
      </p:sp>
      <p:sp>
        <p:nvSpPr>
          <p:cNvPr id="17417" name="TextBox 9"/>
          <p:cNvSpPr txBox="1">
            <a:spLocks noChangeArrowheads="1"/>
          </p:cNvSpPr>
          <p:nvPr/>
        </p:nvSpPr>
        <p:spPr bwMode="auto">
          <a:xfrm>
            <a:off x="6976331" y="2627531"/>
            <a:ext cx="1023813" cy="192360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ts val="1488"/>
              </a:lnSpc>
              <a:spcBef>
                <a:spcPct val="0"/>
              </a:spcBef>
              <a:spcAft>
                <a:spcPts val="372"/>
              </a:spcAft>
            </a:pPr>
            <a:r>
              <a:rPr lang="hu-HU" altLang="hu-HU" sz="1902"/>
              <a:t>Könyvtár</a:t>
            </a:r>
          </a:p>
        </p:txBody>
      </p:sp>
      <p:sp>
        <p:nvSpPr>
          <p:cNvPr id="17418" name="TextBox 10"/>
          <p:cNvSpPr txBox="1">
            <a:spLocks noChangeArrowheads="1"/>
          </p:cNvSpPr>
          <p:nvPr/>
        </p:nvSpPr>
        <p:spPr bwMode="auto">
          <a:xfrm>
            <a:off x="6233245" y="2043125"/>
            <a:ext cx="1023813" cy="192360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ts val="1488"/>
              </a:lnSpc>
              <a:spcBef>
                <a:spcPct val="0"/>
              </a:spcBef>
              <a:spcAft>
                <a:spcPts val="372"/>
              </a:spcAft>
            </a:pPr>
            <a:r>
              <a:rPr lang="hu-HU" altLang="hu-HU" sz="1902" dirty="0"/>
              <a:t>CD </a:t>
            </a:r>
            <a:r>
              <a:rPr lang="hu-HU" altLang="hu-HU" sz="1902" dirty="0" err="1"/>
              <a:t>audio</a:t>
            </a:r>
            <a:endParaRPr lang="hu-HU" altLang="hu-HU" sz="1902" dirty="0"/>
          </a:p>
        </p:txBody>
      </p:sp>
      <p:sp>
        <p:nvSpPr>
          <p:cNvPr id="17419" name="TextBox 11"/>
          <p:cNvSpPr txBox="1">
            <a:spLocks noChangeArrowheads="1"/>
          </p:cNvSpPr>
          <p:nvPr/>
        </p:nvSpPr>
        <p:spPr bwMode="auto">
          <a:xfrm>
            <a:off x="6524631" y="1258801"/>
            <a:ext cx="1023813" cy="192360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ts val="1488"/>
              </a:lnSpc>
              <a:spcBef>
                <a:spcPct val="0"/>
              </a:spcBef>
              <a:spcAft>
                <a:spcPts val="372"/>
              </a:spcAft>
            </a:pPr>
            <a:r>
              <a:rPr lang="hu-HU" altLang="hu-HU" sz="1902" dirty="0"/>
              <a:t>Erkel Ferenc</a:t>
            </a:r>
          </a:p>
        </p:txBody>
      </p:sp>
      <p:sp>
        <p:nvSpPr>
          <p:cNvPr id="17420" name="TextBox 12"/>
          <p:cNvSpPr txBox="1">
            <a:spLocks noChangeArrowheads="1"/>
          </p:cNvSpPr>
          <p:nvPr/>
        </p:nvSpPr>
        <p:spPr bwMode="auto">
          <a:xfrm>
            <a:off x="8967326" y="1312399"/>
            <a:ext cx="1023813" cy="384721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ts val="1488"/>
              </a:lnSpc>
              <a:spcBef>
                <a:spcPct val="0"/>
              </a:spcBef>
              <a:spcAft>
                <a:spcPts val="372"/>
              </a:spcAft>
            </a:pPr>
            <a:r>
              <a:rPr lang="hu-HU" altLang="hu-HU" sz="1902" dirty="0"/>
              <a:t>Magyarország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3537585" y="2581859"/>
            <a:ext cx="2399856" cy="959624"/>
          </a:xfrm>
          <a:prstGeom prst="roundRect">
            <a:avLst/>
          </a:prstGeom>
          <a:solidFill>
            <a:srgbClr val="CCFF99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488"/>
              </a:lnSpc>
              <a:spcBef>
                <a:spcPct val="25000"/>
              </a:spcBef>
              <a:buClr>
                <a:schemeClr val="tx2"/>
              </a:buClr>
              <a:defRPr/>
            </a:pPr>
            <a:endParaRPr lang="hu-HU" sz="1158" dirty="0">
              <a:solidFill>
                <a:schemeClr val="tx1"/>
              </a:solidFill>
            </a:endParaRPr>
          </a:p>
          <a:p>
            <a:pPr algn="ctr">
              <a:lnSpc>
                <a:spcPts val="1488"/>
              </a:lnSpc>
              <a:spcBef>
                <a:spcPct val="25000"/>
              </a:spcBef>
              <a:buClr>
                <a:schemeClr val="tx2"/>
              </a:buClr>
              <a:defRPr/>
            </a:pPr>
            <a:r>
              <a:rPr lang="hu-HU" sz="992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http://www.worldcat.org/title/king-stephen-istvan-kiraly-opera-in-four-acts/oclc...brief_results</a:t>
            </a:r>
            <a:r>
              <a:rPr lang="hu-HU" sz="992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>
              <a:lnSpc>
                <a:spcPts val="1488"/>
              </a:lnSpc>
              <a:spcBef>
                <a:spcPct val="25000"/>
              </a:spcBef>
              <a:buClr>
                <a:schemeClr val="tx2"/>
              </a:buClr>
              <a:defRPr/>
            </a:pPr>
            <a:r>
              <a:rPr lang="hu-HU" sz="1984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AF</a:t>
            </a:r>
          </a:p>
          <a:p>
            <a:pPr algn="ctr">
              <a:lnSpc>
                <a:spcPts val="1488"/>
              </a:lnSpc>
              <a:spcBef>
                <a:spcPct val="25000"/>
              </a:spcBef>
              <a:buClr>
                <a:schemeClr val="tx2"/>
              </a:buClr>
              <a:defRPr/>
            </a:pPr>
            <a:endParaRPr lang="hu-HU" sz="1902" dirty="0">
              <a:solidFill>
                <a:schemeClr val="tx1"/>
              </a:solidFill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3528531" y="4011925"/>
            <a:ext cx="2366272" cy="1107064"/>
          </a:xfrm>
          <a:prstGeom prst="roundRect">
            <a:avLst/>
          </a:prstGeom>
          <a:solidFill>
            <a:schemeClr val="accent3">
              <a:lumMod val="85000"/>
            </a:schemeClr>
          </a:solidFill>
          <a:ln>
            <a:solidFill>
              <a:srgbClr val="FFFF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488"/>
              </a:lnSpc>
              <a:spcBef>
                <a:spcPct val="25000"/>
              </a:spcBef>
              <a:buClr>
                <a:schemeClr val="tx2"/>
              </a:buClr>
              <a:defRPr/>
            </a:pPr>
            <a:endParaRPr lang="hu-HU" sz="1158" dirty="0">
              <a:solidFill>
                <a:schemeClr val="tx1"/>
              </a:solidFill>
              <a:hlinkClick r:id="rId5"/>
            </a:endParaRPr>
          </a:p>
          <a:p>
            <a:pPr algn="ctr">
              <a:lnSpc>
                <a:spcPts val="1488"/>
              </a:lnSpc>
              <a:spcBef>
                <a:spcPct val="25000"/>
              </a:spcBef>
              <a:buClr>
                <a:schemeClr val="tx2"/>
              </a:buClr>
              <a:defRPr/>
            </a:pPr>
            <a:r>
              <a:rPr lang="hu-HU" sz="115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http://www.wikidata.org/wiki/Q316820?uselang=hu</a:t>
            </a:r>
            <a:r>
              <a:rPr lang="hu-HU" sz="115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kel Ferenc</a:t>
            </a:r>
            <a:r>
              <a:rPr lang="hu-HU" sz="1158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902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 </a:t>
            </a:r>
          </a:p>
          <a:p>
            <a:pPr algn="ctr">
              <a:lnSpc>
                <a:spcPts val="1488"/>
              </a:lnSpc>
              <a:spcBef>
                <a:spcPct val="25000"/>
              </a:spcBef>
              <a:buClr>
                <a:schemeClr val="tx2"/>
              </a:buClr>
              <a:defRPr/>
            </a:pPr>
            <a:r>
              <a:rPr lang="hu-HU" sz="1984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kidata</a:t>
            </a:r>
            <a:endParaRPr lang="hu-HU" sz="1984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1488"/>
              </a:lnSpc>
              <a:spcBef>
                <a:spcPct val="25000"/>
              </a:spcBef>
              <a:buClr>
                <a:schemeClr val="tx2"/>
              </a:buClr>
              <a:defRPr/>
            </a:pPr>
            <a:endParaRPr lang="hu-HU" sz="1902" b="1" dirty="0" err="1">
              <a:solidFill>
                <a:srgbClr val="0070C0"/>
              </a:solidFill>
            </a:endParaRPr>
          </a:p>
        </p:txBody>
      </p:sp>
      <p:sp>
        <p:nvSpPr>
          <p:cNvPr id="17424" name="AutoShape 2" descr="Képtalálat a következőre: „google”"/>
          <p:cNvSpPr>
            <a:spLocks noChangeAspect="1" noChangeArrowheads="1"/>
          </p:cNvSpPr>
          <p:nvPr/>
        </p:nvSpPr>
        <p:spPr bwMode="auto">
          <a:xfrm>
            <a:off x="1260077" y="850949"/>
            <a:ext cx="252016" cy="252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lnSpc>
                <a:spcPts val="1488"/>
              </a:lnSpc>
            </a:pPr>
            <a:endParaRPr lang="hu-HU" altLang="hu-HU" sz="1902">
              <a:solidFill>
                <a:schemeClr val="bg1"/>
              </a:solidFill>
            </a:endParaRPr>
          </a:p>
        </p:txBody>
      </p:sp>
      <p:sp>
        <p:nvSpPr>
          <p:cNvPr id="17425" name="AutoShape 6" descr="Képtalálat a következőre: „google”"/>
          <p:cNvSpPr>
            <a:spLocks noChangeAspect="1" noChangeArrowheads="1"/>
          </p:cNvSpPr>
          <p:nvPr/>
        </p:nvSpPr>
        <p:spPr bwMode="auto">
          <a:xfrm>
            <a:off x="1512093" y="1102965"/>
            <a:ext cx="252016" cy="252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lnSpc>
                <a:spcPts val="1488"/>
              </a:lnSpc>
            </a:pPr>
            <a:endParaRPr lang="hu-HU" altLang="hu-HU" sz="1902">
              <a:solidFill>
                <a:schemeClr val="bg1"/>
              </a:solidFill>
            </a:endParaRPr>
          </a:p>
        </p:txBody>
      </p:sp>
      <p:sp>
        <p:nvSpPr>
          <p:cNvPr id="17426" name="AutoShape 8" descr="Képtalálat a következőre: „google”"/>
          <p:cNvSpPr>
            <a:spLocks noChangeAspect="1" noChangeArrowheads="1"/>
          </p:cNvSpPr>
          <p:nvPr/>
        </p:nvSpPr>
        <p:spPr bwMode="auto">
          <a:xfrm>
            <a:off x="1638101" y="1228973"/>
            <a:ext cx="252016" cy="252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lnSpc>
                <a:spcPts val="1488"/>
              </a:lnSpc>
            </a:pPr>
            <a:endParaRPr lang="hu-HU" altLang="hu-HU" sz="1902">
              <a:solidFill>
                <a:schemeClr val="bg1"/>
              </a:solidFill>
            </a:endParaRPr>
          </a:p>
        </p:txBody>
      </p:sp>
      <p:sp>
        <p:nvSpPr>
          <p:cNvPr id="17427" name="AutoShape 10" descr="Képtalálat a következőre: „google”"/>
          <p:cNvSpPr>
            <a:spLocks noChangeAspect="1" noChangeArrowheads="1"/>
          </p:cNvSpPr>
          <p:nvPr/>
        </p:nvSpPr>
        <p:spPr bwMode="auto">
          <a:xfrm>
            <a:off x="1764109" y="1354980"/>
            <a:ext cx="252016" cy="252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lnSpc>
                <a:spcPts val="1488"/>
              </a:lnSpc>
            </a:pPr>
            <a:endParaRPr lang="hu-HU" altLang="hu-HU" sz="1902">
              <a:solidFill>
                <a:schemeClr val="bg1"/>
              </a:solidFill>
            </a:endParaRPr>
          </a:p>
        </p:txBody>
      </p:sp>
      <p:pic>
        <p:nvPicPr>
          <p:cNvPr id="17428" name="Picture 42" descr="Képtalálat a következőre: „google”">
            <a:hlinkClick r:id="rId6"/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0088" y="1366128"/>
            <a:ext cx="1690439" cy="946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30" name="Picture 6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0206" y="3181674"/>
            <a:ext cx="3111362" cy="2639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34"/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08680" y="5365638"/>
            <a:ext cx="2286123" cy="838889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17435" name="Kép 13" descr="http://www.oclc.org/content/dam/oclc/publications/newsletters/nextspace/images/Issue24/worldcat-search-graphic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5728" y="2484369"/>
            <a:ext cx="1149364" cy="6118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Down Arrow 7"/>
          <p:cNvSpPr/>
          <p:nvPr/>
        </p:nvSpPr>
        <p:spPr>
          <a:xfrm>
            <a:off x="1993345" y="2966479"/>
            <a:ext cx="905681" cy="807103"/>
          </a:xfrm>
          <a:prstGeom prst="downArrow">
            <a:avLst/>
          </a:prstGeom>
          <a:solidFill>
            <a:srgbClr val="FF99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488"/>
              </a:lnSpc>
              <a:spcBef>
                <a:spcPct val="25000"/>
              </a:spcBef>
              <a:buClr>
                <a:schemeClr val="tx2"/>
              </a:buClr>
              <a:defRPr/>
            </a:pPr>
            <a:endParaRPr lang="hu-HU" sz="1902" dirty="0" err="1">
              <a:solidFill>
                <a:schemeClr val="tx1"/>
              </a:solidFill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338985" y="5963759"/>
            <a:ext cx="2771688" cy="855963"/>
          </a:xfrm>
          <a:prstGeom prst="roundRect">
            <a:avLst/>
          </a:prstGeom>
          <a:solidFill>
            <a:schemeClr val="accent1">
              <a:lumMod val="90000"/>
            </a:schemeClr>
          </a:solidFill>
          <a:ln>
            <a:solidFill>
              <a:srgbClr val="0070C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488"/>
              </a:lnSpc>
              <a:spcBef>
                <a:spcPct val="25000"/>
              </a:spcBef>
              <a:buClr>
                <a:schemeClr val="tx2"/>
              </a:buClr>
              <a:defRPr/>
            </a:pPr>
            <a:endParaRPr lang="hu-HU" sz="1902" dirty="0">
              <a:solidFill>
                <a:schemeClr val="tx1"/>
              </a:solidFill>
            </a:endParaRPr>
          </a:p>
          <a:p>
            <a:pPr algn="ctr">
              <a:lnSpc>
                <a:spcPts val="1488"/>
              </a:lnSpc>
              <a:spcBef>
                <a:spcPct val="25000"/>
              </a:spcBef>
              <a:buClr>
                <a:schemeClr val="tx2"/>
              </a:buClr>
              <a:defRPr/>
            </a:pPr>
            <a:r>
              <a:rPr lang="hu-HU" sz="992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http://www.worldcat.org/title/king-stephen-istvan-kiraly-opera-in-four-acts/oclc/870655555&amp;referer=brief_results</a:t>
            </a:r>
            <a:r>
              <a:rPr lang="hu-HU" sz="992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>
              <a:lnSpc>
                <a:spcPts val="1488"/>
              </a:lnSpc>
              <a:spcBef>
                <a:spcPct val="25000"/>
              </a:spcBef>
              <a:buClr>
                <a:schemeClr val="tx2"/>
              </a:buClr>
              <a:defRPr/>
            </a:pPr>
            <a:r>
              <a:rPr lang="hu-HU" sz="992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kel Ferenc</a:t>
            </a:r>
          </a:p>
          <a:p>
            <a:pPr algn="ctr">
              <a:lnSpc>
                <a:spcPts val="1488"/>
              </a:lnSpc>
              <a:spcBef>
                <a:spcPct val="25000"/>
              </a:spcBef>
              <a:buClr>
                <a:schemeClr val="tx2"/>
              </a:buClr>
              <a:defRPr/>
            </a:pPr>
            <a:endParaRPr lang="hu-HU" sz="1902" dirty="0">
              <a:solidFill>
                <a:schemeClr val="bg1"/>
              </a:solidFill>
            </a:endParaRPr>
          </a:p>
        </p:txBody>
      </p:sp>
      <p:sp>
        <p:nvSpPr>
          <p:cNvPr id="6" name="Szövegdoboz 5"/>
          <p:cNvSpPr txBox="1"/>
          <p:nvPr/>
        </p:nvSpPr>
        <p:spPr>
          <a:xfrm>
            <a:off x="2270011" y="1307314"/>
            <a:ext cx="1681325" cy="6367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72"/>
              </a:spcAft>
              <a:buClr>
                <a:schemeClr val="tx2"/>
              </a:buClr>
            </a:pPr>
            <a:r>
              <a:rPr lang="hu-HU" sz="1902" dirty="0">
                <a:latin typeface="Arial" panose="020B0604020202020204" pitchFamily="34" charset="0"/>
                <a:cs typeface="Arial" panose="020B0604020202020204" pitchFamily="34" charset="0"/>
              </a:rPr>
              <a:t>István király</a:t>
            </a:r>
          </a:p>
          <a:p>
            <a:pPr>
              <a:spcAft>
                <a:spcPts val="372"/>
              </a:spcAft>
              <a:buClr>
                <a:schemeClr val="tx2"/>
              </a:buClr>
            </a:pPr>
            <a:endParaRPr lang="hu-HU" sz="1902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alt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OCLC könyvtári </a:t>
            </a:r>
            <a:r>
              <a:rPr lang="hu-HU" altLang="hu-H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udásgráf</a:t>
            </a:r>
            <a:r>
              <a:rPr lang="hu-HU" alt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 entitások</a:t>
            </a:r>
            <a:br>
              <a:rPr lang="hu-HU" altLang="hu-H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altLang="hu-HU" sz="1984" dirty="0" err="1"/>
              <a:t>WorldCat</a:t>
            </a:r>
            <a:r>
              <a:rPr lang="hu-HU" altLang="hu-HU" sz="1984" dirty="0"/>
              <a:t>, VIAF, ISNI, </a:t>
            </a:r>
            <a:r>
              <a:rPr lang="hu-HU" altLang="hu-HU" sz="1984" dirty="0" err="1"/>
              <a:t>Wikidata</a:t>
            </a:r>
            <a:r>
              <a:rPr lang="hu-HU" altLang="hu-HU" sz="1984" dirty="0"/>
              <a:t>, </a:t>
            </a:r>
            <a:r>
              <a:rPr lang="hu-HU" altLang="hu-HU" sz="1984" dirty="0" err="1"/>
              <a:t>Fast</a:t>
            </a:r>
            <a:r>
              <a:rPr lang="hu-HU" altLang="hu-HU" sz="1984" dirty="0"/>
              <a:t> (példa: Erkel Ferenc: István király)</a:t>
            </a:r>
          </a:p>
        </p:txBody>
      </p:sp>
      <p:pic>
        <p:nvPicPr>
          <p:cNvPr id="37" name="Picture 6" descr="Képtalálat a következőre: „István király”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87587" y="1772512"/>
            <a:ext cx="817057" cy="891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Lekerekített téglalap 10"/>
          <p:cNvSpPr/>
          <p:nvPr/>
        </p:nvSpPr>
        <p:spPr>
          <a:xfrm>
            <a:off x="6667167" y="3211938"/>
            <a:ext cx="3103736" cy="4380898"/>
          </a:xfrm>
          <a:prstGeom prst="round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dirty="0">
                <a:solidFill>
                  <a:schemeClr val="tx1"/>
                </a:solidFill>
              </a:rPr>
              <a:t>István király személy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dirty="0">
                <a:solidFill>
                  <a:schemeClr val="tx1"/>
                </a:solidFill>
              </a:rPr>
              <a:t>King Stephen személy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dirty="0">
                <a:solidFill>
                  <a:schemeClr val="tx1"/>
                </a:solidFill>
              </a:rPr>
              <a:t>István király magyar történelmi személy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dirty="0">
                <a:solidFill>
                  <a:schemeClr val="tx1"/>
                </a:solidFill>
              </a:rPr>
              <a:t>István király felesége Gizella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dirty="0">
                <a:solidFill>
                  <a:schemeClr val="tx1"/>
                </a:solidFill>
              </a:rPr>
              <a:t>István király fia Imre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dirty="0">
                <a:solidFill>
                  <a:schemeClr val="tx1"/>
                </a:solidFill>
              </a:rPr>
              <a:t>István király apja Géza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dirty="0">
                <a:solidFill>
                  <a:schemeClr val="tx1"/>
                </a:solidFill>
              </a:rPr>
              <a:t>István király szerző (Intelmek)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dirty="0">
                <a:solidFill>
                  <a:schemeClr val="tx1"/>
                </a:solidFill>
              </a:rPr>
              <a:t>Erkel Ferenc (személy)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dirty="0">
                <a:solidFill>
                  <a:schemeClr val="tx1"/>
                </a:solidFill>
              </a:rPr>
              <a:t>Erkel Ferenc (szerző, zeneszerző, </a:t>
            </a:r>
            <a:r>
              <a:rPr lang="hu-HU" sz="1902" dirty="0" err="1">
                <a:solidFill>
                  <a:schemeClr val="tx1"/>
                </a:solidFill>
              </a:rPr>
              <a:t>composer</a:t>
            </a:r>
            <a:r>
              <a:rPr lang="hu-HU" sz="1902" dirty="0">
                <a:solidFill>
                  <a:schemeClr val="tx1"/>
                </a:solidFill>
              </a:rPr>
              <a:t>)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dirty="0">
                <a:solidFill>
                  <a:schemeClr val="tx1"/>
                </a:solidFill>
              </a:rPr>
              <a:t>Erkel Ferenc Zeneiskola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dirty="0">
                <a:solidFill>
                  <a:schemeClr val="tx1"/>
                </a:solidFill>
              </a:rPr>
              <a:t>Erkel Ferenc (mű, szobor, kép, festmény stb.)</a:t>
            </a:r>
          </a:p>
        </p:txBody>
      </p:sp>
      <p:sp>
        <p:nvSpPr>
          <p:cNvPr id="13" name="Jobbra nyíl 12"/>
          <p:cNvSpPr/>
          <p:nvPr/>
        </p:nvSpPr>
        <p:spPr>
          <a:xfrm>
            <a:off x="5952475" y="4256600"/>
            <a:ext cx="657019" cy="863220"/>
          </a:xfrm>
          <a:prstGeom prst="rightArrow">
            <a:avLst/>
          </a:prstGeom>
          <a:solidFill>
            <a:srgbClr val="FF99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902" dirty="0" err="1">
              <a:solidFill>
                <a:schemeClr val="tx1"/>
              </a:solidFill>
            </a:endParaRPr>
          </a:p>
        </p:txBody>
      </p:sp>
      <p:cxnSp>
        <p:nvCxnSpPr>
          <p:cNvPr id="20" name="Egyenes összekötő nyíllal 19"/>
          <p:cNvCxnSpPr/>
          <p:nvPr/>
        </p:nvCxnSpPr>
        <p:spPr>
          <a:xfrm flipV="1">
            <a:off x="2820099" y="3211938"/>
            <a:ext cx="647180" cy="112428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Egyenes összekötő nyíllal 21"/>
          <p:cNvCxnSpPr/>
          <p:nvPr/>
        </p:nvCxnSpPr>
        <p:spPr>
          <a:xfrm>
            <a:off x="2820098" y="4344201"/>
            <a:ext cx="708433" cy="20127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Egyenes összekötő nyíllal 24"/>
          <p:cNvCxnSpPr/>
          <p:nvPr/>
        </p:nvCxnSpPr>
        <p:spPr>
          <a:xfrm>
            <a:off x="2841113" y="4364328"/>
            <a:ext cx="696472" cy="1480714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Kép 2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95975" y="1352744"/>
            <a:ext cx="1596336" cy="882742"/>
          </a:xfrm>
          <a:prstGeom prst="rect">
            <a:avLst/>
          </a:prstGeom>
        </p:spPr>
      </p:pic>
      <p:pic>
        <p:nvPicPr>
          <p:cNvPr id="4" name="Kép 3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19408" y="2749848"/>
            <a:ext cx="895351" cy="1276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892523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55337" y="317932"/>
            <a:ext cx="9364663" cy="588082"/>
          </a:xfrm>
        </p:spPr>
        <p:txBody>
          <a:bodyPr/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„OPEN” - A nyílt hozzáférés fejlődése, IFLA trendek</a:t>
            </a:r>
            <a:b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30557" y="1196823"/>
            <a:ext cx="9562386" cy="6283630"/>
          </a:xfrm>
          <a:solidFill>
            <a:schemeClr val="bg1"/>
          </a:solidFill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lentős IFLA trendek és felkészülés -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e Access 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edom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ression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FAIFE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- 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kiemelt könyvtári szere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ine 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ílt hozzáférés – kiterjesztő, korlátozó és biztonsági rendszerek </a:t>
            </a:r>
            <a:endParaRPr lang="hu-HU" sz="20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58900" lvl="2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abályozás meghatározza de akadályozhatja is a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zzáférést az infrastruktúra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pítésében,  a szabályok elveknek megfelelő fejlesztésében, a felhasználó barát szolgáltatások fejlesztésében, a hosszú távú elérhetőség biztosításában.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örvények – mozgalmak az egységes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égiákért</a:t>
            </a:r>
          </a:p>
          <a:p>
            <a:pPr marL="363538" lvl="2" indent="-363538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mzeti örökség </a:t>
            </a:r>
            <a:r>
              <a:rPr lang="hu-HU" sz="2000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gőrzése </a:t>
            </a:r>
            <a:r>
              <a:rPr lang="hu-HU" sz="200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s </a:t>
            </a:r>
            <a:r>
              <a:rPr lang="hu-HU" sz="2000" smtClean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izálása, láthatóvá tétele, örökségvédelem</a:t>
            </a:r>
            <a:endParaRPr lang="hu-H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sz="2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s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z akadémiai és kutató </a:t>
            </a: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nyvtárak kezdeményezéseiben </a:t>
            </a:r>
            <a:endParaRPr lang="hu-H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08213" lvl="4" indent="-176213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utatási dokumentumok megőrzésében és szabályos közzétételében</a:t>
            </a:r>
          </a:p>
          <a:p>
            <a:pPr marL="608213" lvl="4" indent="-176213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ységes platformokhoz integrált és nemzetközi standardoknak megfelelő szolgáltatások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TMT országos kooperáció – nemzetközi kapcsolatok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608213" lvl="4" indent="-176213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kkreditált 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ozitóriumok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kereshetők a 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ogle-n</a:t>
            </a:r>
            <a:endParaRPr lang="hu-HU" sz="2000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5113" lvl="2" indent="-265113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utatói kataszterek – egységes </a:t>
            </a:r>
            <a:r>
              <a:rPr lang="hu-HU" sz="2000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hority</a:t>
            </a: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atkapcsolatokkal a nemzeti és nemzetközi rendszerekhez (VIAF, ISNI, NTMT)</a:t>
            </a:r>
            <a:endParaRPr lang="hu-HU" sz="2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mzeti könyvtárak - nemzeti szintű nyílt hozzáférés, nemzeti digitális </a:t>
            </a:r>
            <a:r>
              <a:rPr lang="hu-HU" sz="2000" dirty="0" err="1" smtClean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lang="hu-HU" sz="2000" dirty="0" smtClean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err="1" smtClean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b</a:t>
            </a:r>
            <a:endParaRPr lang="hu-H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512788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6</a:t>
            </a:fld>
            <a:endParaRPr lang="en-US" dirty="0"/>
          </a:p>
        </p:txBody>
      </p:sp>
      <p:sp>
        <p:nvSpPr>
          <p:cNvPr id="3" name="Cím 2"/>
          <p:cNvSpPr>
            <a:spLocks noGrp="1"/>
          </p:cNvSpPr>
          <p:nvPr>
            <p:ph type="title"/>
          </p:nvPr>
        </p:nvSpPr>
        <p:spPr>
          <a:xfrm>
            <a:off x="111242" y="383645"/>
            <a:ext cx="9848006" cy="672645"/>
          </a:xfrm>
        </p:spPr>
        <p:txBody>
          <a:bodyPr/>
          <a:lstStyle/>
          <a:p>
            <a:pPr algn="ctr"/>
            <a:r>
              <a:rPr lang="hu-HU" sz="4400" dirty="0" smtClean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hu-HU" sz="4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„</a:t>
            </a:r>
            <a:r>
              <a:rPr lang="hu-HU" sz="4400" b="1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mart</a:t>
            </a:r>
            <a:r>
              <a:rPr lang="hu-HU" sz="4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” </a:t>
            </a:r>
            <a:r>
              <a:rPr lang="hu-HU" sz="44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ndszerek </a:t>
            </a:r>
            <a:r>
              <a:rPr lang="hu-HU" sz="44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onvergenciájája</a:t>
            </a:r>
            <a:endParaRPr lang="hu-HU" sz="4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Kép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139747" y="2375044"/>
            <a:ext cx="1974486" cy="1369518"/>
          </a:xfrm>
          <a:prstGeom prst="rect">
            <a:avLst/>
          </a:prstGeom>
        </p:spPr>
      </p:pic>
      <p:pic>
        <p:nvPicPr>
          <p:cNvPr id="5" name="Kép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72721" y="5342467"/>
            <a:ext cx="2186527" cy="1516592"/>
          </a:xfrm>
          <a:prstGeom prst="rect">
            <a:avLst/>
          </a:prstGeom>
        </p:spPr>
      </p:pic>
      <p:sp>
        <p:nvSpPr>
          <p:cNvPr id="8" name="Szövegdoboz 7"/>
          <p:cNvSpPr txBox="1"/>
          <p:nvPr/>
        </p:nvSpPr>
        <p:spPr>
          <a:xfrm>
            <a:off x="108744" y="1233176"/>
            <a:ext cx="9720262" cy="26081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ikor intelligens rendszerekről beszélünk</a:t>
            </a:r>
            <a:r>
              <a:rPr lang="hu-H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</a:t>
            </a:r>
            <a:r>
              <a:rPr lang="hu-H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zponti szolgáltatási </a:t>
            </a:r>
            <a:r>
              <a:rPr lang="hu-HU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tformokra gondolunk</a:t>
            </a:r>
            <a:r>
              <a:rPr lang="hu-H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lyekre </a:t>
            </a:r>
            <a:r>
              <a:rPr lang="hu-H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áttér rendszerek  üzeneteket, jelentéseket küldenek a változásokról</a:t>
            </a: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. a  fogyasztásról, hőmérsékletről, zajszintről, szolgáltatásokról, </a:t>
            </a: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y szolgáltatási portál </a:t>
            </a:r>
            <a:r>
              <a:rPr lang="hu-H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gy mobil </a:t>
            </a:r>
            <a:r>
              <a:rPr lang="hu-HU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kalmazás alapján</a:t>
            </a:r>
            <a:endParaRPr lang="hu-HU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dirty="0">
              <a:solidFill>
                <a:srgbClr val="FFFF99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dirty="0" smtClean="0">
              <a:ea typeface="Swagger" pitchFamily="2" charset="0"/>
            </a:endParaRPr>
          </a:p>
        </p:txBody>
      </p:sp>
      <p:sp>
        <p:nvSpPr>
          <p:cNvPr id="10" name="Szövegdoboz 9"/>
          <p:cNvSpPr txBox="1"/>
          <p:nvPr/>
        </p:nvSpPr>
        <p:spPr>
          <a:xfrm>
            <a:off x="-249120" y="3922735"/>
            <a:ext cx="9969383" cy="4356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400" b="1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platformokhoz kapcsolódó </a:t>
            </a: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400" b="1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ghatározott </a:t>
            </a:r>
            <a:r>
              <a:rPr lang="hu-HU" sz="24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frastruktúra </a:t>
            </a:r>
            <a:r>
              <a:rPr lang="hu-HU" sz="2400" b="1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áttér rendszerek és a szenzorok kiterjesztik </a:t>
            </a:r>
            <a:r>
              <a:rPr lang="hu-HU" sz="24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</a:t>
            </a:r>
            <a:r>
              <a:rPr lang="hu-HU" sz="2400" b="1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zámunkra </a:t>
            </a:r>
            <a:r>
              <a:rPr lang="hu-HU" sz="24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érzékelhető </a:t>
            </a:r>
            <a:r>
              <a:rPr lang="hu-HU" sz="2400" b="1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ilágot</a:t>
            </a:r>
            <a:r>
              <a:rPr lang="hu-HU" sz="24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endParaRPr lang="hu-HU" sz="2400" b="1" dirty="0" smtClean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z elérhető és szolgáltatható információk körét, </a:t>
            </a: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</a:t>
            </a: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tív 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lek és stratégiák </a:t>
            </a: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önnek létre, </a:t>
            </a: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jlődik az innovatív szemlélet és az  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llektuális </a:t>
            </a: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ktivitás, </a:t>
            </a: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z igénybevétel kiterjed 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városok vezetésére, </a:t>
            </a:r>
            <a:endParaRPr lang="hu-HU" sz="1800" dirty="0" smtClean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özlekedésre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orvosi és mérnöki tudományokra, </a:t>
            </a:r>
            <a:endParaRPr lang="hu-HU" sz="1800" dirty="0" smtClean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őt 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pénzügyi irányításra is</a:t>
            </a:r>
            <a:r>
              <a:rPr lang="hu-HU" sz="28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br>
              <a:rPr lang="hu-HU" sz="28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lang="hu-HU" sz="18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dirty="0">
              <a:solidFill>
                <a:schemeClr val="bg1"/>
              </a:solidFill>
              <a:ea typeface="Swagger" pitchFamily="2" charset="0"/>
            </a:endParaRP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dirty="0" smtClean="0">
              <a:solidFill>
                <a:schemeClr val="bg1"/>
              </a:solidFill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734718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27" presetClass="emph" presetSubtype="0" fill="remove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2" dur="250" autoRev="1" fill="remov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23" dur="250" autoRev="1" fill="remove"/>
                                        <p:tgtEl>
                                          <p:spTgt spid="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4" dur="250" autoRev="1" fill="remove"/>
                                        <p:tgtEl>
                                          <p:spTgt spid="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5" dur="250" autoRev="1" fill="remove"/>
                                        <p:tgtEl>
                                          <p:spTgt spid="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32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27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8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9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0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31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2" presetID="32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33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4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35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36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37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60000" y="279880"/>
            <a:ext cx="9364663" cy="588082"/>
          </a:xfrm>
        </p:spPr>
        <p:txBody>
          <a:bodyPr/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hu-H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mart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” </a:t>
            </a:r>
            <a:r>
              <a:rPr lang="hu-H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ities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, „</a:t>
            </a:r>
            <a:r>
              <a:rPr lang="hu-H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mart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” </a:t>
            </a:r>
            <a:r>
              <a:rPr lang="hu-H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ibraries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, Internet of </a:t>
            </a:r>
            <a:r>
              <a:rPr lang="hu-H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ings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  fenntartható fejlődés</a:t>
            </a:r>
            <a:b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7</a:t>
            </a:fld>
            <a:endParaRPr lang="en-US" dirty="0"/>
          </a:p>
        </p:txBody>
      </p:sp>
      <p:pic>
        <p:nvPicPr>
          <p:cNvPr id="6" name="Kép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221186" y="848855"/>
            <a:ext cx="3363686" cy="4086959"/>
          </a:xfrm>
          <a:prstGeom prst="rect">
            <a:avLst/>
          </a:prstGeom>
        </p:spPr>
      </p:pic>
      <p:sp>
        <p:nvSpPr>
          <p:cNvPr id="8" name="Tartalom helye 2"/>
          <p:cNvSpPr>
            <a:spLocks noGrp="1"/>
          </p:cNvSpPr>
          <p:nvPr>
            <p:ph idx="1"/>
          </p:nvPr>
        </p:nvSpPr>
        <p:spPr>
          <a:xfrm>
            <a:off x="119488" y="1463423"/>
            <a:ext cx="5628113" cy="567691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zonos célok – állampolgári tájékozottsá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 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tudásalapú környezet </a:t>
            </a:r>
            <a:r>
              <a:rPr lang="hu-HU" sz="20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fejlődésének támogatása. 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megjelenítés és közzététel, általános </a:t>
            </a: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eléréssel</a:t>
            </a:r>
            <a:endParaRPr lang="hu-HU" sz="2000" dirty="0">
              <a:solidFill>
                <a:schemeClr val="tx2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tájékozódás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, </a:t>
            </a: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tanulás, nyitottság, kényelem</a:t>
            </a:r>
            <a:r>
              <a:rPr lang="hu-HU" sz="2000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, </a:t>
            </a:r>
            <a:r>
              <a:rPr lang="hu-HU" sz="20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ktív és „civil” </a:t>
            </a:r>
            <a:r>
              <a:rPr lang="hu-HU" sz="2000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közösségek, </a:t>
            </a:r>
            <a:r>
              <a:rPr lang="hu-HU" sz="20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nyitott kulturális </a:t>
            </a:r>
            <a:r>
              <a:rPr lang="hu-HU" sz="2000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terek, fenntartható fejlődé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életminőség 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javítása</a:t>
            </a:r>
            <a:r>
              <a:rPr lang="hu-HU" sz="2000" dirty="0">
                <a:solidFill>
                  <a:srgbClr val="FF00F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, </a:t>
            </a:r>
            <a:r>
              <a:rPr lang="hu-HU" sz="20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állampolgári </a:t>
            </a:r>
            <a:r>
              <a:rPr lang="hu-HU" sz="2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részvétel, </a:t>
            </a:r>
            <a:r>
              <a:rPr lang="hu-HU" sz="20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információk interaktivitásának támogatása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térképezi 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adatokat és információkat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új minta 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megoldások és 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szolgáltatások, automatikus módszerek, </a:t>
            </a:r>
            <a:r>
              <a:rPr lang="hu-HU" sz="2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(azonosítás, kártya, kioszk, e-jegy, stb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digitális könyvtár és digitális város </a:t>
            </a:r>
            <a: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  <a:t>több elemből álló moduláris rendszerek, </a:t>
            </a:r>
            <a:endParaRPr lang="hu-H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ERŐS </a:t>
            </a:r>
            <a: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  <a:t>ICT infrastruktúra, </a:t>
            </a:r>
            <a:r>
              <a:rPr lang="hu-HU" dirty="0" err="1">
                <a:latin typeface="Arial" panose="020B0604020202020204" pitchFamily="34" charset="0"/>
                <a:cs typeface="Arial" panose="020B0604020202020204" pitchFamily="34" charset="0"/>
              </a:rPr>
              <a:t>big</a:t>
            </a:r>
            <a: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  <a:t>fejlődés.</a:t>
            </a:r>
          </a:p>
        </p:txBody>
      </p:sp>
      <p:sp>
        <p:nvSpPr>
          <p:cNvPr id="9" name="Téglalap 8"/>
          <p:cNvSpPr/>
          <p:nvPr/>
        </p:nvSpPr>
        <p:spPr>
          <a:xfrm>
            <a:off x="5973309" y="5078235"/>
            <a:ext cx="3859439" cy="230832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nternet of </a:t>
            </a:r>
            <a:r>
              <a:rPr lang="hu-HU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ings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- megszelídített </a:t>
            </a:r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adattenger 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sz="1600" dirty="0" err="1">
                <a:latin typeface="Arial" panose="020B0604020202020204" pitchFamily="34" charset="0"/>
                <a:cs typeface="Arial" panose="020B0604020202020204" pitchFamily="34" charset="0"/>
              </a:rPr>
              <a:t>IoT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 világában szenzorok tömegéből nyert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datok automatikus tárolásával, keresésével,  elemzésével gyorsan jutunk információkhoz. </a:t>
            </a:r>
          </a:p>
          <a:p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sz="1600" dirty="0" err="1">
                <a:latin typeface="Arial" panose="020B0604020202020204" pitchFamily="34" charset="0"/>
                <a:cs typeface="Arial" panose="020B0604020202020204" pitchFamily="34" charset="0"/>
              </a:rPr>
              <a:t>IoT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 az adatok továbbításán túl magába foglalja az adatokra épülő analitikai megoldásokat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endParaRPr lang="hu-HU" sz="1600" dirty="0"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439748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29418" y="231462"/>
            <a:ext cx="9364663" cy="588082"/>
          </a:xfrm>
        </p:spPr>
        <p:txBody>
          <a:bodyPr/>
          <a:lstStyle/>
          <a:p>
            <a:pPr>
              <a:tabLst>
                <a:tab pos="2506663" algn="l"/>
              </a:tabLst>
            </a:pP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Intelligens modellek és stratégiák </a:t>
            </a:r>
            <a:b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2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innovatív inspiráló környezet és oktatás</a:t>
            </a:r>
            <a:endParaRPr lang="hu-HU" sz="2400" b="1" dirty="0">
              <a:ln w="22225">
                <a:solidFill>
                  <a:schemeClr val="accent2"/>
                </a:solidFill>
                <a:prstDash val="solid"/>
              </a:ln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80320" y="1301801"/>
            <a:ext cx="6349999" cy="5611762"/>
          </a:xfrm>
          <a:solidFill>
            <a:schemeClr val="bg1"/>
          </a:solidFill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enntartható fejlődés - 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digitális információs technológia és a „</a:t>
            </a:r>
            <a:r>
              <a:rPr lang="hu-HU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mart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” technológiai model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zkönyvtárak szerepe a fenntartható fejlődésben </a:t>
            </a:r>
          </a:p>
          <a:p>
            <a:pPr marL="558900" lvl="2" indent="-34290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gitális tartalomfejlesztés szolgáltatói beállítódással</a:t>
            </a:r>
          </a:p>
          <a:p>
            <a:pPr marL="558900" lvl="2" indent="-342900" defTabSz="457322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ooperatív és digitális szolgáltatási 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lek</a:t>
            </a:r>
          </a:p>
          <a:p>
            <a:pPr marL="558900" lvl="2" indent="-342900" defTabSz="457322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jlődő intellektuális aktivitás, egyéni kezdeményezések, </a:t>
            </a:r>
          </a:p>
          <a:p>
            <a:pPr lvl="2" defTabSz="457322"/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j oktatási modellek</a:t>
            </a:r>
          </a:p>
          <a:p>
            <a:pPr marL="558900" lvl="2" indent="-342900" defTabSz="457322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bilizálódás, digitális, online tananyag és irányítási rendszerek, MOOC, </a:t>
            </a:r>
            <a:r>
              <a:rPr lang="hu-HU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mification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-learning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</a:p>
          <a:p>
            <a:pPr marL="558900" lvl="2" indent="-342900" defTabSz="457322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ív szemlélet, inspiráló modellek, </a:t>
            </a:r>
            <a:r>
              <a:rPr lang="hu-HU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gmented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ity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lvl="2" defTabSz="457322"/>
            <a:r>
              <a:rPr lang="hu-HU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zdasági fejlődést inspiráló </a:t>
            </a:r>
            <a:r>
              <a:rPr lang="hu-HU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pari és termelési 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modellek</a:t>
            </a:r>
            <a:endParaRPr lang="hu-HU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 defTabSz="457322"/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modellek célja</a:t>
            </a:r>
          </a:p>
          <a:p>
            <a:pPr lvl="3" defTabSz="457322"/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él szélesebb körű ismeretszerzés a tartalmi teljesség és a hozzáférhetőség tekintetében is.</a:t>
            </a:r>
          </a:p>
          <a:p>
            <a:pPr marL="177800" indent="-177800" defTabSz="457322">
              <a:spcBef>
                <a:spcPts val="300"/>
              </a:spcBef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endParaRPr lang="hu-H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8</a:t>
            </a:fld>
            <a:endParaRPr lang="en-US" dirty="0"/>
          </a:p>
        </p:txBody>
      </p:sp>
      <p:sp>
        <p:nvSpPr>
          <p:cNvPr id="5" name="Szövegdoboz 4"/>
          <p:cNvSpPr txBox="1"/>
          <p:nvPr/>
        </p:nvSpPr>
        <p:spPr>
          <a:xfrm>
            <a:off x="7110639" y="1047072"/>
            <a:ext cx="2854552" cy="441036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ll-equipped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ns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ys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“Here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ve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ols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om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e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quipment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ice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arch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ons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nd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s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w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s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ething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thwhile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a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per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n </a:t>
            </a:r>
            <a:r>
              <a:rPr lang="hu-HU" sz="1800" b="1" i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tion</a:t>
            </a:r>
            <a:r>
              <a:rPr lang="hu-H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” </a:t>
            </a:r>
            <a:endParaRPr lang="hu-HU" sz="1800" b="1" i="1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sz="18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smartlibrary.dtu.dk</a:t>
            </a:r>
            <a:r>
              <a:rPr lang="hu-HU" sz="1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hu-HU" sz="18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s</a:t>
            </a:r>
            <a:r>
              <a:rPr lang="hu-HU" sz="1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nau</a:t>
            </a:r>
            <a:r>
              <a:rPr lang="hu-HU" sz="18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DTU . Dánia)</a:t>
            </a:r>
            <a:endParaRPr lang="hu-HU" sz="18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dirty="0" smtClean="0">
              <a:ea typeface="Swagger" pitchFamily="2" charset="0"/>
            </a:endParaRPr>
          </a:p>
        </p:txBody>
      </p:sp>
      <p:sp>
        <p:nvSpPr>
          <p:cNvPr id="6" name="Lefelé nyíl 5"/>
          <p:cNvSpPr/>
          <p:nvPr/>
        </p:nvSpPr>
        <p:spPr bwMode="gray">
          <a:xfrm>
            <a:off x="7488238" y="441192"/>
            <a:ext cx="1718441" cy="378352"/>
          </a:xfrm>
          <a:prstGeom prst="downArrow">
            <a:avLst/>
          </a:prstGeom>
          <a:solidFill>
            <a:srgbClr val="FFFF00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Szövegdoboz 6"/>
          <p:cNvSpPr txBox="1"/>
          <p:nvPr/>
        </p:nvSpPr>
        <p:spPr>
          <a:xfrm>
            <a:off x="-17690" y="6482094"/>
            <a:ext cx="10091739" cy="996033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 algn="ctr" defTabSz="457322">
              <a:spcBef>
                <a:spcPts val="300"/>
              </a:spcBef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osztott architektúra rendszerek, a nyílt platformok, az automatizálás  interaktív tudásközvetítést biztosítanak az emberek és eszközök között, visszahatva a </a:t>
            </a:r>
            <a:r>
              <a:rPr lang="hu-HU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árosi, kulturális, irányítási  </a:t>
            </a:r>
            <a:r>
              <a:rPr lang="hu-H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s termelési alaprendszerekre</a:t>
            </a:r>
          </a:p>
        </p:txBody>
      </p:sp>
    </p:spTree>
    <p:extLst>
      <p:ext uri="{BB962C8B-B14F-4D97-AF65-F5344CB8AC3E}">
        <p14:creationId xmlns:p14="http://schemas.microsoft.com/office/powerpoint/2010/main" xmlns="" val="8373027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Könyvtárak újrapozícionálása, szerepmódosítások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9</a:t>
            </a:fld>
            <a:endParaRPr lang="en-US" dirty="0"/>
          </a:p>
        </p:txBody>
      </p:sp>
      <p:sp>
        <p:nvSpPr>
          <p:cNvPr id="5" name="Szövegdoboz 4"/>
          <p:cNvSpPr txBox="1"/>
          <p:nvPr/>
        </p:nvSpPr>
        <p:spPr>
          <a:xfrm>
            <a:off x="216563" y="1012888"/>
            <a:ext cx="6395252" cy="442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400" b="1" u="sng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ért van szükség </a:t>
            </a:r>
            <a:r>
              <a:rPr lang="hu-HU" sz="2400" b="1" u="sng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jrapozícionálásra?</a:t>
            </a:r>
            <a:endParaRPr lang="hu-HU" sz="2400" b="1" u="sng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zövegdoboz 5"/>
          <p:cNvSpPr txBox="1"/>
          <p:nvPr/>
        </p:nvSpPr>
        <p:spPr>
          <a:xfrm>
            <a:off x="216563" y="1585688"/>
            <a:ext cx="9510049" cy="581273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nyvtárakról kialakult társadalmi összkép maradi és szegény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álózati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rások könyvtári eredete és kapcsolata nem kellően 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mer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önyvtár, mint a modern informatikai technológia adaptálója, terjesztője és mentora egyre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sszetettebb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goldási követelményekkel szembesül, amelyek kikényszerítik a feladatok és szerepek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zformálásá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hu-HU" sz="900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258763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emélyes </a:t>
            </a: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delkezésre állás, mint speciális könyvtári </a:t>
            </a: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erepadottság</a:t>
            </a:r>
          </a:p>
          <a:p>
            <a:pPr marL="534988" lvl="1" indent="-268288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hetőség a nem formális tanulás támogatására, keresés támogatása, alkotás támogatása   </a:t>
            </a:r>
          </a:p>
          <a:p>
            <a:pPr marL="534988" lvl="1" indent="-268288">
              <a:buFont typeface="Arial" panose="020B0604020202020204" pitchFamily="34" charset="0"/>
              <a:buChar char="•"/>
            </a:pPr>
            <a:endParaRPr lang="hu-HU" sz="1000" b="1" dirty="0"/>
          </a:p>
          <a:p>
            <a:pPr marL="266700" lvl="1" indent="-266700">
              <a:buFont typeface="Arial" panose="020B0604020202020204" pitchFamily="34" charset="0"/>
              <a:buChar char="•"/>
            </a:pPr>
            <a:r>
              <a:rPr lang="hu-HU" sz="18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1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yoni Nyilatkozat az ENSZ </a:t>
            </a:r>
            <a:r>
              <a:rPr lang="hu-HU" sz="18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őtt 2015-ben (Donna </a:t>
            </a:r>
            <a:r>
              <a:rPr lang="hu-HU" sz="1800" b="1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eeder</a:t>
            </a:r>
            <a:r>
              <a:rPr lang="hu-HU" sz="18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534988" lvl="1" indent="-268288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nntartható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jlődési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élok</a:t>
            </a: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le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als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DG) megvalósításában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önyvtáraknak kiemelt szerepe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het a megnövekedett információs igények kielégítésével</a:t>
            </a:r>
            <a:r>
              <a:rPr lang="hu-HU" sz="16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Baráthné Hajdú Ágnes közlése - </a:t>
            </a:r>
            <a:r>
              <a:rPr lang="hu-HU" sz="16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magazin</a:t>
            </a:r>
            <a:r>
              <a:rPr lang="hu-HU" sz="16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534988" lvl="1" indent="-268288">
              <a:buFont typeface="Arial" panose="020B0604020202020204" pitchFamily="34" charset="0"/>
              <a:buChar char="•"/>
            </a:pPr>
            <a:endParaRPr lang="hu-HU" sz="1600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éma és tudásalapú szolgáltatások iránti igények, tudásmenedzsment </a:t>
            </a:r>
          </a:p>
          <a:p>
            <a:pPr marL="534988" lvl="1" indent="-268288">
              <a:buFont typeface="Arial" panose="020B0604020202020204" pitchFamily="34" charset="0"/>
              <a:buChar char="•"/>
            </a:pPr>
            <a:r>
              <a:rPr lang="hu-HU" sz="2000" i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virtuális </a:t>
            </a:r>
            <a:r>
              <a:rPr lang="hu-HU" sz="2000" i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s szintetizált elektronikus forrásokra épülő, mobilizált </a:t>
            </a:r>
            <a:r>
              <a:rPr lang="hu-HU" sz="2000" i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olgáltatású könyvtár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vábblép a probléma alapú tájékoztatás irányába</a:t>
            </a:r>
          </a:p>
          <a:p>
            <a:pPr marL="534988" lvl="1" indent="-268288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használói csoportok részére szerkesztett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s koherens webes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olgáltatást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újt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hu-HU" sz="1800" b="1" dirty="0" smtClean="0">
              <a:solidFill>
                <a:schemeClr val="accent1">
                  <a:lumMod val="75000"/>
                </a:schemeClr>
              </a:solidFill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910651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b="1" dirty="0" smtClean="0"/>
              <a:t>MERRE TARTUNK?</a:t>
            </a:r>
            <a:endParaRPr lang="hu-HU" b="1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214875" y="1031019"/>
            <a:ext cx="9509788" cy="4311158"/>
          </a:xfrm>
        </p:spPr>
        <p:txBody>
          <a:bodyPr/>
          <a:lstStyle/>
          <a:p>
            <a:pPr algn="ctr">
              <a:lnSpc>
                <a:spcPts val="2067"/>
              </a:lnSpc>
            </a:pPr>
            <a:r>
              <a:rPr lang="hu-HU" sz="1984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jövőről gondolkodás egyik központi témája, vajon hogyan változik meg </a:t>
            </a:r>
          </a:p>
          <a:p>
            <a:pPr algn="ctr">
              <a:lnSpc>
                <a:spcPts val="2067"/>
              </a:lnSpc>
            </a:pPr>
            <a:r>
              <a:rPr lang="hu-HU" sz="1984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letünk  a technológia fejlődésével (?)</a:t>
            </a:r>
          </a:p>
          <a:p>
            <a:pPr algn="ctr">
              <a:lnSpc>
                <a:spcPts val="2067"/>
              </a:lnSpc>
            </a:pPr>
            <a:endParaRPr lang="hu-HU" sz="66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hu-HU" sz="1984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1984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en alapuló új használati szokások már nem </a:t>
            </a:r>
          </a:p>
          <a:p>
            <a:pPr algn="ctr"/>
            <a:r>
              <a:rPr lang="hu-HU" sz="1984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vethetők a tegnapi könyvtári </a:t>
            </a:r>
            <a:r>
              <a:rPr lang="hu-HU" sz="1984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flow</a:t>
            </a:r>
            <a:r>
              <a:rPr lang="hu-HU" sz="1984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lapján</a:t>
            </a:r>
          </a:p>
          <a:p>
            <a:pPr algn="ctr"/>
            <a:endParaRPr lang="hu-HU" sz="1984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hu-HU" sz="1984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1984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 problémákat nem tudjuk megoldani </a:t>
            </a:r>
          </a:p>
          <a:p>
            <a:pPr algn="ctr"/>
            <a:r>
              <a:rPr lang="hu-HU" sz="1984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okkal a módszerekkel, amelyekkel azokat létrehoztuk</a:t>
            </a:r>
          </a:p>
          <a:p>
            <a:pPr algn="ctr"/>
            <a:endParaRPr lang="hu-HU" sz="1984" b="1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hu-HU" sz="1984" b="1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2067"/>
              </a:lnSpc>
            </a:pPr>
            <a:endParaRPr lang="hu-HU" sz="1984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2067"/>
              </a:lnSpc>
            </a:pPr>
            <a:endParaRPr lang="hu-HU" sz="1984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Kép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flipH="1">
            <a:off x="469994" y="3877613"/>
            <a:ext cx="914355" cy="1101651"/>
          </a:xfrm>
          <a:prstGeom prst="rect">
            <a:avLst/>
          </a:prstGeom>
        </p:spPr>
      </p:pic>
      <p:sp>
        <p:nvSpPr>
          <p:cNvPr id="5" name="Szaggatott nyíl jobbra 4"/>
          <p:cNvSpPr/>
          <p:nvPr/>
        </p:nvSpPr>
        <p:spPr>
          <a:xfrm rot="5400000">
            <a:off x="7881915" y="1996849"/>
            <a:ext cx="2311522" cy="1559500"/>
          </a:xfrm>
          <a:prstGeom prst="stripedRightArrow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902" dirty="0" err="1">
              <a:solidFill>
                <a:schemeClr val="tx1"/>
              </a:solidFill>
            </a:endParaRPr>
          </a:p>
        </p:txBody>
      </p:sp>
      <p:sp>
        <p:nvSpPr>
          <p:cNvPr id="6" name="Ellipszis 5"/>
          <p:cNvSpPr/>
          <p:nvPr/>
        </p:nvSpPr>
        <p:spPr>
          <a:xfrm>
            <a:off x="8586804" y="4222172"/>
            <a:ext cx="901743" cy="897806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902" dirty="0" err="1">
              <a:solidFill>
                <a:schemeClr val="tx1"/>
              </a:solidFill>
            </a:endParaRPr>
          </a:p>
        </p:txBody>
      </p:sp>
      <p:sp>
        <p:nvSpPr>
          <p:cNvPr id="8" name="Szaggatott nyíl jobbra 7"/>
          <p:cNvSpPr/>
          <p:nvPr/>
        </p:nvSpPr>
        <p:spPr>
          <a:xfrm rot="5400000">
            <a:off x="-118090" y="1890250"/>
            <a:ext cx="2090523" cy="1472263"/>
          </a:xfrm>
          <a:prstGeom prst="stripedRightArrow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902" dirty="0" err="1">
              <a:solidFill>
                <a:schemeClr val="tx1"/>
              </a:solidFill>
            </a:endParaRPr>
          </a:p>
        </p:txBody>
      </p:sp>
      <p:sp>
        <p:nvSpPr>
          <p:cNvPr id="9" name="Rounded Rectangle 7"/>
          <p:cNvSpPr/>
          <p:nvPr/>
        </p:nvSpPr>
        <p:spPr>
          <a:xfrm>
            <a:off x="469994" y="5299684"/>
            <a:ext cx="3340444" cy="1217004"/>
          </a:xfrm>
          <a:prstGeom prst="roundRect">
            <a:avLst/>
          </a:prstGeom>
          <a:solidFill>
            <a:srgbClr val="7030A0"/>
          </a:solidFill>
          <a:ln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2300"/>
              </a:lnSpc>
              <a:spcBef>
                <a:spcPct val="25000"/>
              </a:spcBef>
              <a:buClr>
                <a:schemeClr val="tx2"/>
              </a:buClr>
              <a:defRPr/>
            </a:pPr>
            <a:r>
              <a:rPr lang="hu-H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udás és információ hálózati és globális jellegű</a:t>
            </a:r>
          </a:p>
        </p:txBody>
      </p:sp>
      <p:sp>
        <p:nvSpPr>
          <p:cNvPr id="10" name="Rounded Rectangle 20"/>
          <p:cNvSpPr/>
          <p:nvPr/>
        </p:nvSpPr>
        <p:spPr>
          <a:xfrm>
            <a:off x="4744204" y="5293034"/>
            <a:ext cx="3978724" cy="1167881"/>
          </a:xfrm>
          <a:prstGeom prst="roundRect">
            <a:avLst/>
          </a:prstGeom>
          <a:solidFill>
            <a:schemeClr val="accent5">
              <a:lumMod val="2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ts val="2400"/>
              </a:lnSpc>
              <a:spcBef>
                <a:spcPct val="25000"/>
              </a:spcBef>
              <a:buClr>
                <a:schemeClr val="tx2"/>
              </a:buClr>
              <a:defRPr/>
            </a:pPr>
            <a:r>
              <a:rPr lang="hu-HU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gteremtett </a:t>
            </a:r>
            <a:r>
              <a:rPr lang="hu-HU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álózati kapcsolat </a:t>
            </a:r>
            <a:r>
              <a:rPr lang="hu-HU" sz="2000" b="1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yamatosan növekszik </a:t>
            </a:r>
            <a:endParaRPr lang="hu-HU" sz="2000" b="1" dirty="0">
              <a:solidFill>
                <a:schemeClr val="tx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560951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Cím 1"/>
          <p:cNvSpPr>
            <a:spLocks noGrp="1"/>
          </p:cNvSpPr>
          <p:nvPr>
            <p:ph type="title"/>
          </p:nvPr>
        </p:nvSpPr>
        <p:spPr>
          <a:xfrm>
            <a:off x="360000" y="279610"/>
            <a:ext cx="9364663" cy="588082"/>
          </a:xfrm>
        </p:spPr>
        <p:txBody>
          <a:bodyPr/>
          <a:lstStyle/>
          <a:p>
            <a:pPr>
              <a:defRPr/>
            </a:pP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Tendenciák – közkönyvtári inspirációk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209320" y="1079625"/>
            <a:ext cx="9871305" cy="6481638"/>
          </a:xfrm>
          <a:solidFill>
            <a:schemeClr val="bg1"/>
          </a:solidFill>
        </p:spPr>
        <p:txBody>
          <a:bodyPr/>
          <a:lstStyle/>
          <a:p>
            <a:pPr marL="342900" indent="-342900">
              <a:lnSpc>
                <a:spcPts val="2000"/>
              </a:lnSpc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ergencia, változás menedzsment, gyors avulás, váratlan fejlődési irányok </a:t>
            </a:r>
          </a:p>
          <a:p>
            <a:pPr marL="501650" lvl="2" indent="-285750">
              <a:lnSpc>
                <a:spcPts val="2000"/>
              </a:lnSpc>
              <a:defRPr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yorsuló avulás a tudomány és technika gyors fejlődése miatt  </a:t>
            </a:r>
          </a:p>
          <a:p>
            <a:pPr marL="501650" lvl="2" indent="-285750">
              <a:lnSpc>
                <a:spcPts val="2000"/>
              </a:lnSpc>
              <a:defRPr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rbanizáció – városi tömörülés, leszakadó nemzedékek és  régiók, hontalanok</a:t>
            </a:r>
          </a:p>
          <a:p>
            <a:pPr marL="501650" lvl="2" indent="-285750">
              <a:lnSpc>
                <a:spcPts val="2000"/>
              </a:lnSpc>
              <a:defRPr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zpontosítás mellett  szigetszerű fejlesztések, alacsony kooperáció, újrakezdések</a:t>
            </a:r>
          </a:p>
          <a:p>
            <a:pPr marL="501650" lvl="2" indent="-285750">
              <a:lnSpc>
                <a:spcPts val="2000"/>
              </a:lnSpc>
              <a:defRPr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zakadók esélyegyenlőség nélkül, polarizálódó használati </a:t>
            </a:r>
            <a:r>
              <a:rPr lang="hu-HU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hetüség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országok, régiók)</a:t>
            </a:r>
          </a:p>
          <a:p>
            <a:pPr marL="342900" indent="-342900">
              <a:lnSpc>
                <a:spcPts val="2000"/>
              </a:lnSpc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 a jövője a papír alapú információnak</a:t>
            </a:r>
          </a:p>
          <a:p>
            <a:pPr marL="501750" lvl="2" indent="-285750">
              <a:lnSpc>
                <a:spcPts val="2000"/>
              </a:lnSpc>
              <a:defRPr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j digitális könyvtári média típusok (pl. egymás között kommunikáló digitális kiadványok)</a:t>
            </a:r>
          </a:p>
          <a:p>
            <a:pPr marL="342900" indent="-342900">
              <a:lnSpc>
                <a:spcPts val="2000"/>
              </a:lnSpc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média befolyása növekszik</a:t>
            </a:r>
          </a:p>
          <a:p>
            <a:pPr marL="501750" lvl="2" indent="-285750">
              <a:lnSpc>
                <a:spcPts val="2000"/>
              </a:lnSpc>
              <a:defRPr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radicionális médiát váltják az újak:  </a:t>
            </a:r>
            <a:r>
              <a:rPr lang="hu-HU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ki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 </a:t>
            </a:r>
            <a:r>
              <a:rPr lang="hu-HU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eet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deo, mobil – szerkesztőségi kontroll nélküli szabad publikációk, véleményvezérek</a:t>
            </a:r>
          </a:p>
          <a:p>
            <a:pPr marL="501750" lvl="2" indent="-285750">
              <a:lnSpc>
                <a:spcPts val="2000"/>
              </a:lnSpc>
              <a:defRPr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zösségi média hatásának erősödése, folyamatosan változó csoportosulások</a:t>
            </a:r>
          </a:p>
          <a:p>
            <a:pPr marL="342900" indent="-342900">
              <a:lnSpc>
                <a:spcPts val="2000"/>
              </a:lnSpc>
              <a:buFont typeface="Arial" panose="020B0604020202020204" pitchFamily="34" charset="0"/>
              <a:buChar char="•"/>
              <a:defRPr/>
            </a:pPr>
            <a:r>
              <a:rPr lang="hu-HU" sz="2000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zumeráció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kontroll csoportok információterjesztése, visszaható igények </a:t>
            </a:r>
          </a:p>
          <a:p>
            <a:pPr marL="342900" indent="-342900">
              <a:lnSpc>
                <a:spcPts val="2000"/>
              </a:lnSpc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‚</a:t>
            </a:r>
            <a:r>
              <a:rPr lang="hu-HU" sz="2000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elfizés</a:t>
            </a:r>
            <a:r>
              <a:rPr lang="hu-HU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igény saját tartalom létrehozására, publikálás, szerkesztés szerkesztői szakértelem nélkül. Hatás nem értékfüggő</a:t>
            </a:r>
          </a:p>
          <a:p>
            <a:pPr marL="342900" indent="-342900">
              <a:lnSpc>
                <a:spcPts val="2000"/>
              </a:lnSpc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 </a:t>
            </a:r>
            <a:r>
              <a:rPr lang="hu-HU" sz="2000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manities</a:t>
            </a: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digitális bölcsészet 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könyvtárakban kurátori szerepek, multidiszciplináris szakértelem, érték- és minta alapú adat- és információmenedzsment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kai hozzáférés jelentős különbségekkel – adaptációs könyvtári felelősség</a:t>
            </a:r>
          </a:p>
          <a:p>
            <a:pPr marL="501750" lvl="2" indent="-285750">
              <a:defRPr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et és mobil, mint platform és munkaeszköz, virtuális és mobil iroda, virtuális gazdaság, távmunka – informatikai szakértelem igénye minden szinten, kreativitás előny</a:t>
            </a:r>
            <a:endParaRPr lang="hu-HU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16" name="Dátum helye 3"/>
          <p:cNvSpPr>
            <a:spLocks noGrp="1"/>
          </p:cNvSpPr>
          <p:nvPr>
            <p:ph type="dt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819028" indent="-315011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260043" indent="-252009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764060" indent="-252009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268078" indent="-252009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772095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3276112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780130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4284147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fld id="{309BE83A-670F-431B-8A37-215DBA407861}" type="datetime1">
              <a:rPr lang="en-US" altLang="hu-HU" smtClean="0">
                <a:latin typeface="Tele-GroteskNor" pitchFamily="2" charset="0"/>
              </a:rPr>
              <a:pPr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t>11/29/2017</a:t>
            </a:fld>
            <a:endParaRPr lang="en-US" altLang="hu-HU" dirty="0" smtClean="0"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736942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llipszis 6"/>
          <p:cNvSpPr/>
          <p:nvPr/>
        </p:nvSpPr>
        <p:spPr>
          <a:xfrm>
            <a:off x="9143442" y="5836134"/>
            <a:ext cx="826926" cy="77967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902" dirty="0" err="1">
              <a:solidFill>
                <a:schemeClr val="tx1"/>
              </a:solidFill>
            </a:endParaRPr>
          </a:p>
        </p:txBody>
      </p:sp>
      <p:sp>
        <p:nvSpPr>
          <p:cNvPr id="4" name="AutoShape 2" descr="Képtalálat a következőre: „data everywhere pictures”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3" name="AutoShape 8" descr="Képtalálat a következőre: „thank you for attention picture”">
            <a:hlinkClick r:id="rId3"/>
          </p:cNvPr>
          <p:cNvSpPr>
            <a:spLocks noChangeAspect="1" noChangeArrowheads="1"/>
          </p:cNvSpPr>
          <p:nvPr/>
        </p:nvSpPr>
        <p:spPr bwMode="auto">
          <a:xfrm>
            <a:off x="155575" y="-28098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3" name="Szövegdoboz 2"/>
          <p:cNvSpPr txBox="1"/>
          <p:nvPr/>
        </p:nvSpPr>
        <p:spPr>
          <a:xfrm>
            <a:off x="106971" y="438455"/>
            <a:ext cx="9597797" cy="1353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4000" b="1" dirty="0" smtClean="0">
                <a:solidFill>
                  <a:schemeClr val="tx2"/>
                </a:solidFill>
                <a:latin typeface="Arial Black" panose="020B0A04020102020204" pitchFamily="34" charset="0"/>
                <a:ea typeface="Swagger" pitchFamily="2" charset="0"/>
              </a:rPr>
              <a:t>A JÖVŐD A KÖNYVTÁRADBAN VAN!</a:t>
            </a:r>
          </a:p>
        </p:txBody>
      </p:sp>
      <p:sp>
        <p:nvSpPr>
          <p:cNvPr id="2" name="Szövegdoboz 1"/>
          <p:cNvSpPr txBox="1"/>
          <p:nvPr/>
        </p:nvSpPr>
        <p:spPr>
          <a:xfrm>
            <a:off x="3534427" y="6638745"/>
            <a:ext cx="5658843" cy="687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 Köszönöm a figyelmet!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smtClean="0">
                <a:ea typeface="Swagger" pitchFamily="2" charset="0"/>
              </a:rPr>
              <a:t> </a:t>
            </a:r>
            <a:r>
              <a:rPr lang="hu-HU" sz="1800" dirty="0" err="1" smtClean="0">
                <a:ea typeface="Swagger" pitchFamily="2" charset="0"/>
              </a:rPr>
              <a:t>horvath.zoltanne</a:t>
            </a:r>
            <a:r>
              <a:rPr lang="hu-HU" sz="1800" dirty="0" smtClean="0">
                <a:ea typeface="Swagger" pitchFamily="2" charset="0"/>
              </a:rPr>
              <a:t>@</a:t>
            </a:r>
            <a:r>
              <a:rPr lang="hu-HU" sz="1800" dirty="0" err="1" smtClean="0">
                <a:ea typeface="Swagger" pitchFamily="2" charset="0"/>
              </a:rPr>
              <a:t>partner.t-systems.hu</a:t>
            </a:r>
            <a:endParaRPr lang="hu-HU" sz="1800" dirty="0" smtClean="0">
              <a:ea typeface="Swagger" pitchFamily="2" charset="0"/>
            </a:endParaRPr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60375" y="2350816"/>
            <a:ext cx="3482163" cy="2607520"/>
          </a:xfrm>
          <a:prstGeom prst="rect">
            <a:avLst/>
          </a:prstGeom>
        </p:spPr>
      </p:pic>
      <p:pic>
        <p:nvPicPr>
          <p:cNvPr id="10" name="Kép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05869" y="1592299"/>
            <a:ext cx="4599725" cy="4596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Kép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89165" y="3101395"/>
            <a:ext cx="2047875" cy="1228725"/>
          </a:xfrm>
          <a:prstGeom prst="rect">
            <a:avLst/>
          </a:prstGeom>
          <a:ln>
            <a:solidFill>
              <a:srgbClr val="E20074"/>
            </a:solidFill>
          </a:ln>
        </p:spPr>
      </p:pic>
      <p:cxnSp>
        <p:nvCxnSpPr>
          <p:cNvPr id="16" name="Egyenes összekötő 15"/>
          <p:cNvCxnSpPr/>
          <p:nvPr/>
        </p:nvCxnSpPr>
        <p:spPr>
          <a:xfrm flipV="1">
            <a:off x="7401154" y="2206151"/>
            <a:ext cx="571165" cy="935473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Egyenes összekötő 17"/>
          <p:cNvCxnSpPr/>
          <p:nvPr/>
        </p:nvCxnSpPr>
        <p:spPr>
          <a:xfrm>
            <a:off x="8167812" y="2486061"/>
            <a:ext cx="401770" cy="594078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ia számának helye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8931264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12271" y="358775"/>
            <a:ext cx="9814221" cy="588082"/>
          </a:xfrm>
        </p:spPr>
        <p:txBody>
          <a:bodyPr/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A használók nem ott, nem úgy, és nem azt keresik…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212271" y="1153454"/>
            <a:ext cx="9411231" cy="4947309"/>
          </a:xfrm>
          <a:solidFill>
            <a:schemeClr val="bg1"/>
          </a:solidFill>
        </p:spPr>
        <p:txBody>
          <a:bodyPr/>
          <a:lstStyle/>
          <a:p>
            <a:pPr marL="283510" indent="-28351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+mn-lt"/>
              </a:rPr>
              <a:t>A </a:t>
            </a:r>
            <a:r>
              <a:rPr lang="hu-HU" sz="2000" dirty="0">
                <a:solidFill>
                  <a:schemeClr val="tx2"/>
                </a:solidFill>
                <a:latin typeface="+mn-lt"/>
              </a:rPr>
              <a:t>fiatal korosztály </a:t>
            </a:r>
            <a:r>
              <a:rPr lang="hu-HU" sz="2000" dirty="0" smtClean="0">
                <a:solidFill>
                  <a:schemeClr val="tx2"/>
                </a:solidFill>
                <a:latin typeface="+mn-lt"/>
              </a:rPr>
              <a:t>igényei </a:t>
            </a:r>
            <a:r>
              <a:rPr lang="hu-HU" sz="2000" dirty="0" smtClean="0">
                <a:solidFill>
                  <a:srgbClr val="002060"/>
                </a:solidFill>
                <a:latin typeface="+mn-lt"/>
              </a:rPr>
              <a:t>visszahatnak </a:t>
            </a:r>
            <a:r>
              <a:rPr lang="hu-HU" sz="2000" dirty="0">
                <a:solidFill>
                  <a:srgbClr val="002060"/>
                </a:solidFill>
                <a:latin typeface="+mn-lt"/>
              </a:rPr>
              <a:t>a könyvtári rendszerekre (</a:t>
            </a:r>
            <a:r>
              <a:rPr lang="hu-HU" sz="2000" dirty="0" err="1">
                <a:solidFill>
                  <a:srgbClr val="002060"/>
                </a:solidFill>
                <a:latin typeface="+mn-lt"/>
              </a:rPr>
              <a:t>konzumeráció</a:t>
            </a:r>
            <a:r>
              <a:rPr lang="hu-HU" sz="2000" dirty="0">
                <a:solidFill>
                  <a:srgbClr val="002060"/>
                </a:solidFill>
                <a:latin typeface="+mn-lt"/>
              </a:rPr>
              <a:t>, web2.0), amelyre a gyors technológiai akceleráció lehetőséget és eszközöket biztosított. </a:t>
            </a:r>
            <a:endParaRPr lang="hu-HU" sz="2000" dirty="0" smtClean="0">
              <a:solidFill>
                <a:srgbClr val="002060"/>
              </a:solidFill>
              <a:latin typeface="+mn-lt"/>
            </a:endParaRPr>
          </a:p>
          <a:p>
            <a:pPr marL="283510" indent="-28351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+mn-lt"/>
              </a:rPr>
              <a:t>R</a:t>
            </a:r>
            <a:r>
              <a:rPr lang="hu-HU" sz="2000" u="sng" dirty="0" smtClean="0">
                <a:solidFill>
                  <a:schemeClr val="tx2"/>
                </a:solidFill>
                <a:latin typeface="+mn-lt"/>
              </a:rPr>
              <a:t>endkívül </a:t>
            </a:r>
            <a:r>
              <a:rPr lang="hu-HU" sz="2000" u="sng" dirty="0">
                <a:solidFill>
                  <a:schemeClr val="tx2"/>
                </a:solidFill>
                <a:latin typeface="+mn-lt"/>
              </a:rPr>
              <a:t>gyorsan válnak érvényessé </a:t>
            </a:r>
            <a:r>
              <a:rPr lang="hu-HU" sz="2000" u="sng" dirty="0" smtClean="0">
                <a:solidFill>
                  <a:srgbClr val="002060"/>
                </a:solidFill>
                <a:latin typeface="+mn-lt"/>
              </a:rPr>
              <a:t>a</a:t>
            </a:r>
            <a:r>
              <a:rPr lang="hu-HU" sz="2000" dirty="0" smtClean="0">
                <a:solidFill>
                  <a:srgbClr val="002060"/>
                </a:solidFill>
                <a:latin typeface="+mn-lt"/>
              </a:rPr>
              <a:t>z </a:t>
            </a:r>
            <a:r>
              <a:rPr lang="hu-HU" sz="2000" dirty="0">
                <a:solidFill>
                  <a:srgbClr val="002060"/>
                </a:solidFill>
                <a:latin typeface="+mn-lt"/>
              </a:rPr>
              <a:t>információtechnológiai, telekommunikációs, és média </a:t>
            </a:r>
            <a:r>
              <a:rPr lang="hu-HU" sz="2000" dirty="0" smtClean="0">
                <a:solidFill>
                  <a:srgbClr val="002060"/>
                </a:solidFill>
                <a:latin typeface="+mn-lt"/>
              </a:rPr>
              <a:t>trendkutatások.</a:t>
            </a:r>
          </a:p>
          <a:p>
            <a:pPr marL="283510" indent="-28351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+mn-lt"/>
              </a:rPr>
              <a:t>A </a:t>
            </a:r>
            <a:r>
              <a:rPr lang="hu-HU" sz="2000" dirty="0">
                <a:solidFill>
                  <a:schemeClr val="tx2"/>
                </a:solidFill>
                <a:latin typeface="+mn-lt"/>
              </a:rPr>
              <a:t>hálózati kooperáció, megosztás és specializálódás </a:t>
            </a:r>
            <a:r>
              <a:rPr lang="hu-HU" sz="2000" dirty="0">
                <a:solidFill>
                  <a:srgbClr val="002060"/>
                </a:solidFill>
                <a:latin typeface="+mn-lt"/>
              </a:rPr>
              <a:t>folyamatai új generációs rendszereket generálnak illesztő szoftverekkel, munkafolyamat </a:t>
            </a:r>
            <a:r>
              <a:rPr lang="hu-HU" sz="2000" dirty="0" smtClean="0">
                <a:solidFill>
                  <a:srgbClr val="002060"/>
                </a:solidFill>
                <a:latin typeface="+mn-lt"/>
              </a:rPr>
              <a:t>támogatással</a:t>
            </a:r>
          </a:p>
          <a:p>
            <a:pPr marL="283510" indent="-28351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+mn-lt"/>
              </a:rPr>
              <a:t>Az üzleti </a:t>
            </a:r>
            <a:r>
              <a:rPr lang="hu-HU" sz="2000" dirty="0">
                <a:solidFill>
                  <a:schemeClr val="tx2"/>
                </a:solidFill>
                <a:latin typeface="+mn-lt"/>
              </a:rPr>
              <a:t>és menedzsment jellegű </a:t>
            </a:r>
            <a:r>
              <a:rPr lang="hu-HU" sz="2000" dirty="0" smtClean="0">
                <a:solidFill>
                  <a:schemeClr val="tx2"/>
                </a:solidFill>
                <a:latin typeface="+mn-lt"/>
              </a:rPr>
              <a:t>tevékenységek </a:t>
            </a:r>
            <a:r>
              <a:rPr lang="hu-HU" sz="2000" dirty="0" smtClean="0">
                <a:solidFill>
                  <a:srgbClr val="002060"/>
                </a:solidFill>
                <a:latin typeface="+mn-lt"/>
              </a:rPr>
              <a:t>gyakorlattá válnak a könyvtárban, jelentős használói trendekkel </a:t>
            </a:r>
          </a:p>
          <a:p>
            <a:pPr marL="283510" indent="-28351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rgbClr val="002060"/>
                </a:solidFill>
                <a:latin typeface="+mn-lt"/>
              </a:rPr>
              <a:t> </a:t>
            </a:r>
            <a:r>
              <a:rPr lang="hu-HU" sz="2000" dirty="0" smtClean="0">
                <a:solidFill>
                  <a:schemeClr val="tx2"/>
                </a:solidFill>
                <a:latin typeface="+mn-lt"/>
              </a:rPr>
              <a:t>A </a:t>
            </a:r>
            <a:r>
              <a:rPr lang="hu-HU" sz="2000" dirty="0">
                <a:solidFill>
                  <a:schemeClr val="tx2"/>
                </a:solidFill>
                <a:latin typeface="+mn-lt"/>
              </a:rPr>
              <a:t>könyvtár mint közösségi hely</a:t>
            </a:r>
            <a:r>
              <a:rPr lang="hu-HU" sz="2000" dirty="0">
                <a:solidFill>
                  <a:srgbClr val="002060"/>
                </a:solidFill>
                <a:latin typeface="+mn-lt"/>
              </a:rPr>
              <a:t> </a:t>
            </a:r>
            <a:r>
              <a:rPr lang="hu-HU" sz="2000" dirty="0" smtClean="0">
                <a:solidFill>
                  <a:srgbClr val="002060"/>
                </a:solidFill>
                <a:latin typeface="+mn-lt"/>
              </a:rPr>
              <a:t>összefonódik a </a:t>
            </a:r>
            <a:r>
              <a:rPr lang="hu-HU" sz="2000" dirty="0">
                <a:solidFill>
                  <a:srgbClr val="002060"/>
                </a:solidFill>
                <a:latin typeface="+mn-lt"/>
              </a:rPr>
              <a:t>virtuális </a:t>
            </a:r>
            <a:r>
              <a:rPr lang="hu-HU" sz="2000" dirty="0" smtClean="0">
                <a:solidFill>
                  <a:srgbClr val="002060"/>
                </a:solidFill>
                <a:latin typeface="+mn-lt"/>
              </a:rPr>
              <a:t>térrel </a:t>
            </a:r>
            <a:r>
              <a:rPr lang="hu-HU" sz="2000" dirty="0">
                <a:solidFill>
                  <a:srgbClr val="002060"/>
                </a:solidFill>
                <a:latin typeface="+mn-lt"/>
              </a:rPr>
              <a:t>a weben, és </a:t>
            </a:r>
            <a:r>
              <a:rPr lang="hu-HU" sz="2000" dirty="0" smtClean="0">
                <a:solidFill>
                  <a:srgbClr val="002060"/>
                </a:solidFill>
                <a:latin typeface="+mn-lt"/>
              </a:rPr>
              <a:t>egy multikulturális, kommunikációs és csoportfoglalkozási közösségi kultúrában teremt új és új színtereket az információmenedzsment tevékenységekhez</a:t>
            </a:r>
          </a:p>
          <a:p>
            <a:pPr marL="283510" indent="-28351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2"/>
                </a:solidFill>
                <a:latin typeface="+mn-lt"/>
              </a:rPr>
              <a:t>Jelenleg a könyvtári adatkezelés nem illeszkedik a használók szokásaihoz, a web technológia és az </a:t>
            </a:r>
            <a:r>
              <a:rPr lang="hu-HU" sz="2000" b="1" dirty="0" err="1" smtClean="0">
                <a:solidFill>
                  <a:schemeClr val="tx2"/>
                </a:solidFill>
                <a:latin typeface="+mn-lt"/>
              </a:rPr>
              <a:t>open</a:t>
            </a:r>
            <a:r>
              <a:rPr lang="hu-HU" sz="2000" b="1" dirty="0" smtClean="0">
                <a:solidFill>
                  <a:schemeClr val="tx2"/>
                </a:solidFill>
                <a:latin typeface="+mn-lt"/>
              </a:rPr>
              <a:t> linked </a:t>
            </a:r>
            <a:r>
              <a:rPr lang="hu-HU" sz="2000" b="1" dirty="0" err="1" smtClean="0">
                <a:solidFill>
                  <a:schemeClr val="tx2"/>
                </a:solidFill>
                <a:latin typeface="+mn-lt"/>
              </a:rPr>
              <a:t>data</a:t>
            </a:r>
            <a:r>
              <a:rPr lang="hu-HU" sz="2000" b="1" dirty="0" smtClean="0">
                <a:solidFill>
                  <a:schemeClr val="tx2"/>
                </a:solidFill>
                <a:latin typeface="+mn-lt"/>
              </a:rPr>
              <a:t> gyakorlat fokozatos közeledést feltételez</a:t>
            </a:r>
          </a:p>
        </p:txBody>
      </p:sp>
    </p:spTree>
    <p:extLst>
      <p:ext uri="{BB962C8B-B14F-4D97-AF65-F5344CB8AC3E}">
        <p14:creationId xmlns:p14="http://schemas.microsoft.com/office/powerpoint/2010/main" xmlns="" val="25260088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82721" y="208463"/>
            <a:ext cx="7313125" cy="1185601"/>
          </a:xfrm>
        </p:spPr>
        <p:txBody>
          <a:bodyPr/>
          <a:lstStyle/>
          <a:p>
            <a:r>
              <a:rPr lang="hu-HU" alt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Új generációs digitális technológia </a:t>
            </a:r>
            <a:br>
              <a:rPr lang="hu-HU" altLang="hu-H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altLang="hu-H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intelligens, gyors, mobil, szimulált</a:t>
            </a:r>
            <a:endParaRPr lang="hu-HU" sz="2800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50914" y="1314392"/>
            <a:ext cx="9415975" cy="5665719"/>
          </a:xfrm>
          <a:solidFill>
            <a:schemeClr val="bg1"/>
          </a:solidFill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hu-HU" sz="20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</a:t>
            </a: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enerációs könyvtári rendszerek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ális, hálózati adatmenedzsment, nemzeti, regionális, nemzetközi katalógus kooperációk,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i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 </a:t>
            </a:r>
            <a:r>
              <a:rPr lang="hu-HU" sz="2000" i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</a:t>
            </a:r>
            <a:r>
              <a:rPr lang="hu-HU" sz="2000" i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lang="hu-HU" sz="2000" i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 leírás alapja az adat, nem a rekor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ált platformok és </a:t>
            </a:r>
            <a:r>
              <a:rPr lang="hu-HU" sz="20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overy</a:t>
            </a: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ndszerek, szemantikus keresők</a:t>
            </a:r>
            <a:endParaRPr lang="hu-HU" sz="2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g </a:t>
            </a:r>
            <a:r>
              <a:rPr lang="hu-HU" sz="20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nagyadat alkalmazások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 linked 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athálózatok, szemantikus web - dinamikusan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övekvő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tmennyiségek, nem tervezhető kiugrások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alizált</a:t>
            </a: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agy teljesítményű mérnöki tároló </a:t>
            </a: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dszerek, </a:t>
            </a:r>
            <a:r>
              <a:rPr lang="hu-HU" sz="20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-memory</a:t>
            </a: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20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</a:t>
            </a:r>
            <a:endParaRPr lang="hu-HU" sz="2000" b="1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usterek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ícionálás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-memory</a:t>
            </a: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 fizikai  memóriában futtatott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dszerek, 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ális „</a:t>
            </a:r>
            <a:r>
              <a:rPr lang="hu-HU" sz="20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</a:t>
            </a: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bérleti alapú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dszerek nemzeti és nemzetközi kooperációi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hu-HU" sz="20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</a:t>
            </a: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</a:t>
            </a: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</a:t>
            </a: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a szükségletek azonnali (digitális) kielégítése </a:t>
            </a:r>
            <a:endParaRPr lang="hu-HU" sz="2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pasztalati alapú gazdaság, oktatás és tudomány –”</a:t>
            </a:r>
            <a:r>
              <a:rPr lang="hu-HU" sz="20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</a:t>
            </a: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fe”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rtuális, valósághű „tapasztalati” ismeretek, szimuláció, Internet of 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ng</a:t>
            </a:r>
            <a:endParaRPr lang="hu-HU" sz="2000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 indent="0">
              <a:buNone/>
            </a:pP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et of </a:t>
            </a:r>
            <a:r>
              <a:rPr lang="hu-HU" sz="20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ng</a:t>
            </a: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eszközök </a:t>
            </a: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munikációja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vezérlés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enzorokkal</a:t>
            </a:r>
            <a:endParaRPr lang="hu-HU" sz="2000" b="1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4</a:t>
            </a:fld>
            <a:endParaRPr lang="en-US" dirty="0"/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14016" y="21789"/>
            <a:ext cx="2498907" cy="1292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545105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5</a:t>
            </a:fld>
            <a:endParaRPr lang="en-US" dirty="0"/>
          </a:p>
        </p:txBody>
      </p:sp>
      <p:sp>
        <p:nvSpPr>
          <p:cNvPr id="4" name="Szövegdoboz 3"/>
          <p:cNvSpPr txBox="1"/>
          <p:nvPr/>
        </p:nvSpPr>
        <p:spPr>
          <a:xfrm>
            <a:off x="2952858" y="4873229"/>
            <a:ext cx="2982721" cy="392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dirty="0" smtClean="0">
                <a:solidFill>
                  <a:schemeClr val="bg1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Hálózatba kapcsolt világ</a:t>
            </a:r>
          </a:p>
        </p:txBody>
      </p:sp>
      <p:sp>
        <p:nvSpPr>
          <p:cNvPr id="5" name="Szövegdoboz 4"/>
          <p:cNvSpPr txBox="1"/>
          <p:nvPr/>
        </p:nvSpPr>
        <p:spPr>
          <a:xfrm>
            <a:off x="38416" y="163350"/>
            <a:ext cx="9860918" cy="584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3200" dirty="0" smtClean="0">
                <a:solidFill>
                  <a:schemeClr val="tx2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„SMART UNIVERSE” – konvergens </a:t>
            </a:r>
            <a:r>
              <a:rPr lang="hu-HU" sz="2800" dirty="0" smtClean="0">
                <a:solidFill>
                  <a:schemeClr val="tx2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okos rendszerek</a:t>
            </a:r>
          </a:p>
        </p:txBody>
      </p:sp>
      <p:pic>
        <p:nvPicPr>
          <p:cNvPr id="6" name="Kép 5" descr="Kapcsolódó kép">
            <a:hlinkClick r:id="rId2"/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1730" y="1667587"/>
            <a:ext cx="4030371" cy="2073980"/>
          </a:xfrm>
          <a:prstGeom prst="rect">
            <a:avLst/>
          </a:prstGeom>
          <a:solidFill>
            <a:schemeClr val="tx2"/>
          </a:solidFill>
          <a:ln>
            <a:noFill/>
          </a:ln>
        </p:spPr>
      </p:pic>
      <p:sp>
        <p:nvSpPr>
          <p:cNvPr id="7" name="Szövegdoboz 6"/>
          <p:cNvSpPr txBox="1"/>
          <p:nvPr/>
        </p:nvSpPr>
        <p:spPr>
          <a:xfrm>
            <a:off x="17033" y="832599"/>
            <a:ext cx="4784355" cy="712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b="1" dirty="0" smtClean="0">
                <a:solidFill>
                  <a:srgbClr val="0843B8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„</a:t>
            </a:r>
            <a:r>
              <a:rPr lang="hu-HU" sz="2000" b="1" dirty="0" err="1" smtClean="0">
                <a:solidFill>
                  <a:srgbClr val="0843B8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Smart</a:t>
            </a:r>
            <a:r>
              <a:rPr lang="hu-HU" sz="2000" b="1" dirty="0" smtClean="0">
                <a:solidFill>
                  <a:srgbClr val="0843B8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” – </a:t>
            </a:r>
            <a:r>
              <a:rPr lang="hu-HU" sz="2000" b="1" dirty="0" err="1" smtClean="0">
                <a:solidFill>
                  <a:srgbClr val="0843B8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intelligen</a:t>
            </a:r>
            <a:r>
              <a:rPr lang="hu-HU" sz="2000" b="1" dirty="0" smtClean="0">
                <a:solidFill>
                  <a:srgbClr val="0843B8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 könyvtár / </a:t>
            </a:r>
            <a:r>
              <a:rPr lang="hu-HU" sz="2000" b="1" dirty="0" err="1" smtClean="0">
                <a:solidFill>
                  <a:srgbClr val="0843B8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smart</a:t>
            </a:r>
            <a:r>
              <a:rPr lang="hu-HU" sz="2000" b="1" dirty="0" smtClean="0">
                <a:solidFill>
                  <a:srgbClr val="0843B8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 campus- intelligens rendszerek</a:t>
            </a:r>
          </a:p>
        </p:txBody>
      </p:sp>
      <p:pic>
        <p:nvPicPr>
          <p:cNvPr id="8" name="Kép 7" descr="10 Important Predictions for the Future of IoT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428806" y="1578458"/>
            <a:ext cx="4483780" cy="219197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zövegdoboz 8"/>
          <p:cNvSpPr txBox="1"/>
          <p:nvPr/>
        </p:nvSpPr>
        <p:spPr>
          <a:xfrm>
            <a:off x="5351477" y="871403"/>
            <a:ext cx="4561109" cy="712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b="1" dirty="0" err="1" smtClean="0">
                <a:solidFill>
                  <a:srgbClr val="0843B8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Smart</a:t>
            </a:r>
            <a:r>
              <a:rPr lang="hu-HU" sz="2000" b="1" dirty="0" smtClean="0">
                <a:solidFill>
                  <a:srgbClr val="0843B8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 city- intelligens városirányítás és betegellátás </a:t>
            </a: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(T…)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41329" y="5287292"/>
            <a:ext cx="3465770" cy="1578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3" name="Csoportba foglalás 24"/>
          <p:cNvGrpSpPr/>
          <p:nvPr/>
        </p:nvGrpSpPr>
        <p:grpSpPr>
          <a:xfrm>
            <a:off x="6687718" y="5340057"/>
            <a:ext cx="3392907" cy="1832586"/>
            <a:chOff x="7303" y="1263613"/>
            <a:chExt cx="6726131" cy="4690490"/>
          </a:xfrm>
        </p:grpSpPr>
        <p:pic>
          <p:nvPicPr>
            <p:cNvPr id="14" name="Kép 1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p:blipFill>
          <p:spPr>
            <a:xfrm>
              <a:off x="7303" y="1263613"/>
              <a:ext cx="6726131" cy="4690490"/>
            </a:xfrm>
            <a:prstGeom prst="rect">
              <a:avLst/>
            </a:prstGeom>
          </p:spPr>
        </p:pic>
        <p:grpSp>
          <p:nvGrpSpPr>
            <p:cNvPr id="15" name="Group 5"/>
            <p:cNvGrpSpPr/>
            <p:nvPr/>
          </p:nvGrpSpPr>
          <p:grpSpPr>
            <a:xfrm>
              <a:off x="2076828" y="2081713"/>
              <a:ext cx="3068386" cy="3611138"/>
              <a:chOff x="1917076" y="2086741"/>
              <a:chExt cx="3068386" cy="3611138"/>
            </a:xfrm>
          </p:grpSpPr>
          <p:pic>
            <p:nvPicPr>
              <p:cNvPr id="16" name="Picture 6"/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 xmlns=""/>
                  </a:ext>
                </a:extLst>
              </a:blip>
              <a:stretch>
                <a:fillRect/>
              </a:stretch>
            </p:blipFill>
            <p:spPr>
              <a:xfrm>
                <a:off x="2812675" y="4406843"/>
                <a:ext cx="1291036" cy="1291036"/>
              </a:xfrm>
              <a:prstGeom prst="rect">
                <a:avLst/>
              </a:prstGeom>
            </p:spPr>
          </p:pic>
          <p:sp>
            <p:nvSpPr>
              <p:cNvPr id="17" name="Down Arrow 7"/>
              <p:cNvSpPr/>
              <p:nvPr/>
            </p:nvSpPr>
            <p:spPr>
              <a:xfrm>
                <a:off x="3268389" y="3358376"/>
                <a:ext cx="365760" cy="1142504"/>
              </a:xfrm>
              <a:prstGeom prst="downArrow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hu-HU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Oval 8"/>
              <p:cNvSpPr/>
              <p:nvPr/>
            </p:nvSpPr>
            <p:spPr>
              <a:xfrm>
                <a:off x="3268389" y="3190240"/>
                <a:ext cx="365760" cy="365760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hu-HU" dirty="0" err="1" smtClean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9" name="Straight Arrow Connector 9"/>
              <p:cNvCxnSpPr>
                <a:endCxn id="18" idx="7"/>
              </p:cNvCxnSpPr>
              <p:nvPr/>
            </p:nvCxnSpPr>
            <p:spPr>
              <a:xfrm flipH="1">
                <a:off x="3580585" y="2695975"/>
                <a:ext cx="652760" cy="547829"/>
              </a:xfrm>
              <a:prstGeom prst="straightConnector1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Arrow Connector 10"/>
              <p:cNvCxnSpPr>
                <a:endCxn id="18" idx="6"/>
              </p:cNvCxnSpPr>
              <p:nvPr/>
            </p:nvCxnSpPr>
            <p:spPr>
              <a:xfrm flipH="1">
                <a:off x="3634149" y="3358376"/>
                <a:ext cx="939125" cy="14744"/>
              </a:xfrm>
              <a:prstGeom prst="straightConnector1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Arrow Connector 11"/>
              <p:cNvCxnSpPr>
                <a:endCxn id="18" idx="2"/>
              </p:cNvCxnSpPr>
              <p:nvPr/>
            </p:nvCxnSpPr>
            <p:spPr>
              <a:xfrm>
                <a:off x="2282471" y="3373120"/>
                <a:ext cx="985918" cy="0"/>
              </a:xfrm>
              <a:prstGeom prst="straightConnector1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Arrow Connector 12"/>
              <p:cNvCxnSpPr>
                <a:endCxn id="18" idx="0"/>
              </p:cNvCxnSpPr>
              <p:nvPr/>
            </p:nvCxnSpPr>
            <p:spPr>
              <a:xfrm>
                <a:off x="3449753" y="2421765"/>
                <a:ext cx="1516" cy="768475"/>
              </a:xfrm>
              <a:prstGeom prst="straightConnector1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Arrow Connector 13"/>
              <p:cNvCxnSpPr>
                <a:endCxn id="18" idx="1"/>
              </p:cNvCxnSpPr>
              <p:nvPr/>
            </p:nvCxnSpPr>
            <p:spPr>
              <a:xfrm>
                <a:off x="2750004" y="2818510"/>
                <a:ext cx="571949" cy="425294"/>
              </a:xfrm>
              <a:prstGeom prst="straightConnector1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Arrow Connector 14"/>
              <p:cNvCxnSpPr>
                <a:endCxn id="18" idx="5"/>
              </p:cNvCxnSpPr>
              <p:nvPr/>
            </p:nvCxnSpPr>
            <p:spPr>
              <a:xfrm flipH="1" flipV="1">
                <a:off x="3580585" y="3502436"/>
                <a:ext cx="571949" cy="421936"/>
              </a:xfrm>
              <a:prstGeom prst="straightConnector1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Arrow Connector 15"/>
              <p:cNvCxnSpPr>
                <a:endCxn id="18" idx="3"/>
              </p:cNvCxnSpPr>
              <p:nvPr/>
            </p:nvCxnSpPr>
            <p:spPr>
              <a:xfrm flipV="1">
                <a:off x="2759276" y="3502436"/>
                <a:ext cx="562677" cy="421936"/>
              </a:xfrm>
              <a:prstGeom prst="straightConnector1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26" name="Picture 16"/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 xmlns=""/>
                  </a:ext>
                </a:extLst>
              </a:blip>
              <a:stretch>
                <a:fillRect/>
              </a:stretch>
            </p:blipFill>
            <p:spPr>
              <a:xfrm>
                <a:off x="2352170" y="2407312"/>
                <a:ext cx="634043" cy="634043"/>
              </a:xfrm>
              <a:prstGeom prst="rect">
                <a:avLst/>
              </a:prstGeom>
            </p:spPr>
          </p:pic>
          <p:pic>
            <p:nvPicPr>
              <p:cNvPr id="27" name="Picture 17"/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 xmlns=""/>
                  </a:ext>
                </a:extLst>
              </a:blip>
              <a:stretch>
                <a:fillRect/>
              </a:stretch>
            </p:blipFill>
            <p:spPr>
              <a:xfrm>
                <a:off x="4351419" y="3040172"/>
                <a:ext cx="634043" cy="636409"/>
              </a:xfrm>
              <a:prstGeom prst="rect">
                <a:avLst/>
              </a:prstGeom>
            </p:spPr>
          </p:pic>
          <p:pic>
            <p:nvPicPr>
              <p:cNvPr id="28" name="Picture 18"/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 xmlns=""/>
                  </a:ext>
                </a:extLst>
              </a:blip>
              <a:stretch>
                <a:fillRect/>
              </a:stretch>
            </p:blipFill>
            <p:spPr>
              <a:xfrm>
                <a:off x="3134247" y="2086741"/>
                <a:ext cx="634043" cy="636409"/>
              </a:xfrm>
              <a:prstGeom prst="rect">
                <a:avLst/>
              </a:prstGeom>
            </p:spPr>
          </p:pic>
          <p:pic>
            <p:nvPicPr>
              <p:cNvPr id="29" name="Picture 19"/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 xmlns=""/>
                  </a:ext>
                </a:extLst>
              </a:blip>
              <a:stretch>
                <a:fillRect/>
              </a:stretch>
            </p:blipFill>
            <p:spPr>
              <a:xfrm>
                <a:off x="3918117" y="3675398"/>
                <a:ext cx="634043" cy="636409"/>
              </a:xfrm>
              <a:prstGeom prst="rect">
                <a:avLst/>
              </a:prstGeom>
            </p:spPr>
          </p:pic>
          <p:pic>
            <p:nvPicPr>
              <p:cNvPr id="30" name="Picture 20"/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 xmlns=""/>
                  </a:ext>
                </a:extLst>
              </a:blip>
              <a:stretch>
                <a:fillRect/>
              </a:stretch>
            </p:blipFill>
            <p:spPr>
              <a:xfrm>
                <a:off x="3916324" y="2403171"/>
                <a:ext cx="634043" cy="636409"/>
              </a:xfrm>
              <a:prstGeom prst="rect">
                <a:avLst/>
              </a:prstGeom>
            </p:spPr>
          </p:pic>
          <p:pic>
            <p:nvPicPr>
              <p:cNvPr id="31" name="Picture 21"/>
              <p:cNvPicPr>
                <a:picLocks noChangeAspect="1"/>
              </p:cNvPicPr>
              <p:nvPr/>
            </p:nvPicPr>
            <p:blipFill>
              <a:blip r:embed="rId13" cstate="screen">
                <a:extLst>
                  <a:ext uri="{28A0092B-C50C-407E-A947-70E740481C1C}">
                    <a14:useLocalDpi xmlns:a14="http://schemas.microsoft.com/office/drawing/2010/main" xmlns=""/>
                  </a:ext>
                </a:extLst>
              </a:blip>
              <a:stretch>
                <a:fillRect/>
              </a:stretch>
            </p:blipFill>
            <p:spPr>
              <a:xfrm>
                <a:off x="2352170" y="3675398"/>
                <a:ext cx="634043" cy="636409"/>
              </a:xfrm>
              <a:prstGeom prst="rect">
                <a:avLst/>
              </a:prstGeom>
            </p:spPr>
          </p:pic>
          <p:pic>
            <p:nvPicPr>
              <p:cNvPr id="32" name="Picture 22"/>
              <p:cNvPicPr>
                <a:picLocks noChangeAspect="1"/>
              </p:cNvPicPr>
              <p:nvPr/>
            </p:nvPicPr>
            <p:blipFill>
              <a:blip r:embed="rId14" cstate="screen">
                <a:extLst>
                  <a:ext uri="{28A0092B-C50C-407E-A947-70E740481C1C}">
                    <a14:useLocalDpi xmlns:a14="http://schemas.microsoft.com/office/drawing/2010/main" xmlns=""/>
                  </a:ext>
                </a:extLst>
              </a:blip>
              <a:stretch>
                <a:fillRect/>
              </a:stretch>
            </p:blipFill>
            <p:spPr>
              <a:xfrm>
                <a:off x="1917076" y="3041355"/>
                <a:ext cx="634043" cy="634043"/>
              </a:xfrm>
              <a:prstGeom prst="rect">
                <a:avLst/>
              </a:prstGeom>
            </p:spPr>
          </p:pic>
        </p:grpSp>
      </p:grpSp>
      <p:sp>
        <p:nvSpPr>
          <p:cNvPr id="33" name="Ellipszis 32"/>
          <p:cNvSpPr/>
          <p:nvPr/>
        </p:nvSpPr>
        <p:spPr bwMode="gray">
          <a:xfrm>
            <a:off x="3782567" y="3122772"/>
            <a:ext cx="2614544" cy="2643781"/>
          </a:xfrm>
          <a:prstGeom prst="ellips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vergens ITC technológiák a fenntartható fejlődésért</a:t>
            </a:r>
          </a:p>
        </p:txBody>
      </p:sp>
      <p:sp>
        <p:nvSpPr>
          <p:cNvPr id="34" name="Szövegdoboz 33"/>
          <p:cNvSpPr txBox="1"/>
          <p:nvPr/>
        </p:nvSpPr>
        <p:spPr>
          <a:xfrm>
            <a:off x="17033" y="4077962"/>
            <a:ext cx="4193539" cy="712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b="1" dirty="0" smtClean="0">
                <a:solidFill>
                  <a:srgbClr val="0843B8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Intelligens technológiák, ipar, termelés, közlekedés irányítás</a:t>
            </a:r>
          </a:p>
        </p:txBody>
      </p:sp>
      <p:sp>
        <p:nvSpPr>
          <p:cNvPr id="35" name="Szövegdoboz 34"/>
          <p:cNvSpPr txBox="1"/>
          <p:nvPr/>
        </p:nvSpPr>
        <p:spPr>
          <a:xfrm>
            <a:off x="17033" y="4841232"/>
            <a:ext cx="4051598" cy="392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b="1" dirty="0" smtClean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Energia hatékonyság</a:t>
            </a:r>
          </a:p>
        </p:txBody>
      </p:sp>
      <p:sp>
        <p:nvSpPr>
          <p:cNvPr id="3" name="Szövegdoboz 2"/>
          <p:cNvSpPr txBox="1"/>
          <p:nvPr/>
        </p:nvSpPr>
        <p:spPr>
          <a:xfrm>
            <a:off x="6539052" y="4000736"/>
            <a:ext cx="3488365" cy="1353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b="1" dirty="0" smtClean="0">
                <a:solidFill>
                  <a:srgbClr val="0843B8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Közös és cserélhető adatok adattárházai,  publikus, osztott portálok, mobil, </a:t>
            </a:r>
            <a:r>
              <a:rPr lang="hu-HU" sz="2000" b="1" dirty="0" err="1" smtClean="0">
                <a:solidFill>
                  <a:srgbClr val="0843B8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IoT</a:t>
            </a:r>
            <a:r>
              <a:rPr lang="hu-HU" sz="2000" b="1" dirty="0" smtClean="0">
                <a:solidFill>
                  <a:srgbClr val="0843B8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, szenzorok</a:t>
            </a:r>
          </a:p>
        </p:txBody>
      </p:sp>
      <p:pic>
        <p:nvPicPr>
          <p:cNvPr id="11" name="Kép 10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689825" y="5802801"/>
            <a:ext cx="2857500" cy="1600200"/>
          </a:xfrm>
          <a:prstGeom prst="rect">
            <a:avLst/>
          </a:prstGeom>
        </p:spPr>
      </p:pic>
      <p:sp>
        <p:nvSpPr>
          <p:cNvPr id="36" name="Szövegdoboz 35"/>
          <p:cNvSpPr txBox="1"/>
          <p:nvPr/>
        </p:nvSpPr>
        <p:spPr>
          <a:xfrm>
            <a:off x="4068632" y="7079116"/>
            <a:ext cx="1968612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smtClean="0">
                <a:solidFill>
                  <a:srgbClr val="E20074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Internet of </a:t>
            </a:r>
            <a:r>
              <a:rPr lang="hu-HU" sz="1800" dirty="0" err="1" smtClean="0">
                <a:solidFill>
                  <a:srgbClr val="E20074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things</a:t>
            </a:r>
            <a:endParaRPr lang="hu-HU" sz="1800" dirty="0" smtClean="0">
              <a:solidFill>
                <a:srgbClr val="E20074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909755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45674" y="167830"/>
            <a:ext cx="9504233" cy="440349"/>
          </a:xfrm>
        </p:spPr>
        <p:txBody>
          <a:bodyPr/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Könyvtári transzformációt generáló külső hatások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32975" y="949264"/>
            <a:ext cx="9702688" cy="6449162"/>
          </a:xfrm>
          <a:solidFill>
            <a:schemeClr val="bg1"/>
          </a:solidFill>
        </p:spPr>
        <p:txBody>
          <a:bodyPr/>
          <a:lstStyle/>
          <a:p>
            <a:pPr marL="283510" indent="-28351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ÜLSŐ </a:t>
            </a: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RNYEZET</a:t>
            </a:r>
          </a:p>
          <a:p>
            <a:pPr marL="499510" lvl="2" indent="-283510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ergencia, mobilitás, változékonyság, gyorsulás, növekedés, vizualitás, új technológiák, új használói igények </a:t>
            </a:r>
          </a:p>
          <a:p>
            <a:pPr marL="283510" indent="-28351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GY KÖNYVTÁRI INTÉZMÉNYEK és szoftvereik </a:t>
            </a:r>
          </a:p>
          <a:p>
            <a:pPr marL="499510" lvl="2" indent="-283510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inancia, kooperációs technológia - szélesebb ívű szolgáltatásrendszer (OCLC, LC, </a:t>
            </a:r>
            <a:r>
              <a:rPr lang="hu-HU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quest</a:t>
            </a:r>
            <a:r>
              <a:rPr lang="hu-H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tb.). A szolgáltatások mérete és komplexitása nehezen követhető </a:t>
            </a:r>
          </a:p>
          <a:p>
            <a:pPr marL="283510" indent="-28351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MZETI, EGYETEMI ÉS felsőoktatási könyvtárak nemzeti és nemzetközi trendjei</a:t>
            </a:r>
          </a:p>
          <a:p>
            <a:pPr marL="480720" lvl="2" indent="-283510">
              <a:buFont typeface="Arial" panose="020B0604020202020204" pitchFamily="34" charset="0"/>
              <a:buChar char="•"/>
            </a:pPr>
            <a:endParaRPr lang="hu-HU" sz="66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3510" indent="-28351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AKKÖNYVTÁRI szerep a tudományok fejlődésében - beépülés </a:t>
            </a:r>
          </a:p>
          <a:p>
            <a:pPr marL="499510" lvl="2" indent="-28351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</a:t>
            </a:r>
            <a:r>
              <a:rPr lang="hu-H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kterületi digitális rendszerek fejlődése, </a:t>
            </a:r>
            <a:r>
              <a:rPr lang="hu-H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gi, orvosi, stb. szakmai </a:t>
            </a:r>
            <a:r>
              <a:rPr lang="hu-H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várások, individuális </a:t>
            </a:r>
            <a:r>
              <a:rPr lang="hu-H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rányítási szisztémák, </a:t>
            </a:r>
            <a:r>
              <a:rPr lang="hu-H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</a:t>
            </a:r>
            <a:r>
              <a:rPr lang="hu-H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és a zárt </a:t>
            </a:r>
            <a:r>
              <a:rPr lang="hu-H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talmak, szakterületi </a:t>
            </a:r>
            <a:r>
              <a:rPr lang="hu-H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tológia, 3D és képi információ a gyógyítás, művészet, műszaki tudományok terén - digitális </a:t>
            </a:r>
            <a:r>
              <a:rPr lang="hu-HU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ozitóriumok</a:t>
            </a:r>
            <a:r>
              <a:rPr lang="hu-H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ézményi struktúrában vagy diszciplína szerint</a:t>
            </a:r>
            <a:endParaRPr lang="hu-H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ZKÖNYVTÁRI szerepvállalások inspirációi</a:t>
            </a:r>
          </a:p>
          <a:p>
            <a:pPr marL="501750" lvl="3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kolán kívüli szervezett és akkreditált képzések</a:t>
            </a:r>
          </a:p>
          <a:p>
            <a:pPr marL="501750" lvl="3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scsoportos szocializálás, intellektuális fejlesztés, személyes </a:t>
            </a:r>
            <a:r>
              <a:rPr lang="hu-H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torálás</a:t>
            </a: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</a:p>
          <a:p>
            <a:pPr marL="501750" lvl="3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maradók technológiai </a:t>
            </a:r>
            <a:r>
              <a:rPr lang="hu-H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torálása</a:t>
            </a: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források és eszközök használatához – nincs iskolarendszerű továbbképzés, állampolgári gyakorlat támogatása, személyes </a:t>
            </a:r>
            <a:r>
              <a:rPr lang="hu-HU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ach</a:t>
            </a:r>
            <a:endParaRPr lang="hu-HU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01750" lvl="3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letvezetés információs támogatása, generációs csoportok fejlesztése, stb</a:t>
            </a:r>
            <a:r>
              <a:rPr lang="hu-HU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501750" lvl="3" indent="-285750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ulturális normák közvetítése</a:t>
            </a:r>
            <a:endParaRPr lang="hu-HU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hu-H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xmlns="" val="35155837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7369265" y="1253479"/>
            <a:ext cx="2425701" cy="1439141"/>
          </a:xfrm>
          <a:prstGeom prst="rect">
            <a:avLst/>
          </a:prstGeom>
          <a:ln>
            <a:solidFill>
              <a:srgbClr val="00B0F0"/>
            </a:solidFill>
          </a:ln>
        </p:spPr>
        <p:txBody>
          <a:bodyPr/>
          <a:lstStyle>
            <a:lvl1pPr algn="l" defTabSz="609744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809" kern="1200" dirty="0">
                <a:solidFill>
                  <a:schemeClr val="tx2"/>
                </a:solidFill>
                <a:latin typeface="Tele-GroteskEEUlt" pitchFamily="2" charset="0"/>
                <a:ea typeface="+mj-ea"/>
                <a:cs typeface="Tele-GroteskEEUlt" pitchFamily="2" charset="0"/>
              </a:defRPr>
            </a:lvl1pPr>
            <a:lvl2pPr algn="l" defTabSz="609744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9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44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9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44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9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44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9">
                <a:solidFill>
                  <a:schemeClr val="tx2"/>
                </a:solidFill>
                <a:latin typeface="Tele-GroteskUlt" pitchFamily="2" charset="0"/>
              </a:defRPr>
            </a:lvl5pPr>
            <a:lvl6pPr marL="483763" algn="l" defTabSz="609744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9">
                <a:solidFill>
                  <a:schemeClr val="tx2"/>
                </a:solidFill>
                <a:latin typeface="Tele-GroteskUlt" pitchFamily="2" charset="0"/>
              </a:defRPr>
            </a:lvl6pPr>
            <a:lvl7pPr marL="967527" algn="l" defTabSz="609744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9">
                <a:solidFill>
                  <a:schemeClr val="tx2"/>
                </a:solidFill>
                <a:latin typeface="Tele-GroteskUlt" pitchFamily="2" charset="0"/>
              </a:defRPr>
            </a:lvl7pPr>
            <a:lvl8pPr marL="1451290" algn="l" defTabSz="609744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9">
                <a:solidFill>
                  <a:schemeClr val="tx2"/>
                </a:solidFill>
                <a:latin typeface="Tele-GroteskUlt" pitchFamily="2" charset="0"/>
              </a:defRPr>
            </a:lvl8pPr>
            <a:lvl9pPr marL="1935053" algn="l" defTabSz="609744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9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algn="ctr">
              <a:lnSpc>
                <a:spcPts val="2150"/>
              </a:lnSpc>
            </a:pPr>
            <a:r>
              <a:rPr lang="hu-HU" altLang="hu-H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zessük (vissza) a felhasználót a könyvtári forrásokhoz a webről</a:t>
            </a:r>
            <a:endParaRPr lang="hu-HU" altLang="hu-HU" sz="1800" dirty="0">
              <a:solidFill>
                <a:srgbClr val="002060"/>
              </a:solidFill>
              <a:cs typeface="TeleGrotesk Headline Ultra" pitchFamily="2" charset="0"/>
            </a:endParaRPr>
          </a:p>
        </p:txBody>
      </p:sp>
      <p:pic>
        <p:nvPicPr>
          <p:cNvPr id="8" name="Kép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25811" y="900875"/>
            <a:ext cx="1871241" cy="1506905"/>
          </a:xfrm>
          <a:prstGeom prst="rect">
            <a:avLst/>
          </a:prstGeom>
        </p:spPr>
      </p:pic>
      <p:sp>
        <p:nvSpPr>
          <p:cNvPr id="13" name="Szövegdoboz 12"/>
          <p:cNvSpPr txBox="1"/>
          <p:nvPr/>
        </p:nvSpPr>
        <p:spPr>
          <a:xfrm>
            <a:off x="277069" y="194639"/>
            <a:ext cx="9799866" cy="4071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72"/>
              </a:spcAft>
              <a:buClr>
                <a:schemeClr val="tx2"/>
              </a:buClr>
            </a:pPr>
            <a:r>
              <a:rPr lang="hu-HU" sz="2646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áthatóság – dinamikus jelenlét – transzformációs készség</a:t>
            </a:r>
          </a:p>
        </p:txBody>
      </p:sp>
      <p:sp>
        <p:nvSpPr>
          <p:cNvPr id="14" name="Szövegdoboz 13"/>
          <p:cNvSpPr txBox="1"/>
          <p:nvPr/>
        </p:nvSpPr>
        <p:spPr>
          <a:xfrm>
            <a:off x="387120" y="2744617"/>
            <a:ext cx="1916186" cy="3053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72"/>
              </a:spcAft>
              <a:buClr>
                <a:schemeClr val="tx2"/>
              </a:buClr>
            </a:pPr>
            <a:r>
              <a:rPr lang="hu-HU" sz="1984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IBILITY</a:t>
            </a:r>
          </a:p>
        </p:txBody>
      </p:sp>
      <p:sp>
        <p:nvSpPr>
          <p:cNvPr id="16" name="Szövegdoboz 15"/>
          <p:cNvSpPr txBox="1"/>
          <p:nvPr/>
        </p:nvSpPr>
        <p:spPr>
          <a:xfrm>
            <a:off x="6614229" y="4979234"/>
            <a:ext cx="2294211" cy="2545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72"/>
              </a:spcAft>
              <a:buClr>
                <a:schemeClr val="tx2"/>
              </a:buClr>
            </a:pPr>
            <a:r>
              <a:rPr lang="hu-HU" sz="1654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TKOMMUNIKÁCIÓ</a:t>
            </a:r>
          </a:p>
        </p:txBody>
      </p:sp>
      <p:sp>
        <p:nvSpPr>
          <p:cNvPr id="17" name="AutoShape 2" descr="Képtalálat a következőre: „LÁTHATÓSÁG KÉP”"/>
          <p:cNvSpPr>
            <a:spLocks noChangeAspect="1" noChangeArrowheads="1"/>
          </p:cNvSpPr>
          <p:nvPr/>
        </p:nvSpPr>
        <p:spPr bwMode="auto">
          <a:xfrm>
            <a:off x="-26252" y="832573"/>
            <a:ext cx="252016" cy="252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75605" tIns="37802" rIns="75605" bIns="37802" numCol="1" anchor="t" anchorCtr="0" compatLnSpc="1">
            <a:prstTxWarp prst="textNoShape">
              <a:avLst/>
            </a:prstTxWarp>
          </a:bodyPr>
          <a:lstStyle/>
          <a:p>
            <a:endParaRPr lang="hu-HU" sz="1902"/>
          </a:p>
        </p:txBody>
      </p:sp>
      <p:sp>
        <p:nvSpPr>
          <p:cNvPr id="18" name="AutoShape 4" descr="Képtalálat a következőre: „LÁTHATÓSÁG KÉP”"/>
          <p:cNvSpPr>
            <a:spLocks noChangeAspect="1" noChangeArrowheads="1"/>
          </p:cNvSpPr>
          <p:nvPr/>
        </p:nvSpPr>
        <p:spPr bwMode="auto">
          <a:xfrm>
            <a:off x="99755" y="958581"/>
            <a:ext cx="252016" cy="252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75605" tIns="37802" rIns="75605" bIns="37802" numCol="1" anchor="t" anchorCtr="0" compatLnSpc="1">
            <a:prstTxWarp prst="textNoShape">
              <a:avLst/>
            </a:prstTxWarp>
          </a:bodyPr>
          <a:lstStyle/>
          <a:p>
            <a:endParaRPr lang="hu-HU" sz="1902"/>
          </a:p>
        </p:txBody>
      </p:sp>
      <p:sp>
        <p:nvSpPr>
          <p:cNvPr id="19" name="AutoShape 6" descr="Képtalálat a következőre: „LÁTHATÓSÁG KÉP”"/>
          <p:cNvSpPr>
            <a:spLocks noChangeAspect="1" noChangeArrowheads="1"/>
          </p:cNvSpPr>
          <p:nvPr/>
        </p:nvSpPr>
        <p:spPr bwMode="auto">
          <a:xfrm>
            <a:off x="225763" y="1084589"/>
            <a:ext cx="252016" cy="252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75605" tIns="37802" rIns="75605" bIns="37802" numCol="1" anchor="t" anchorCtr="0" compatLnSpc="1">
            <a:prstTxWarp prst="textNoShape">
              <a:avLst/>
            </a:prstTxWarp>
          </a:bodyPr>
          <a:lstStyle/>
          <a:p>
            <a:endParaRPr lang="hu-HU" sz="1902"/>
          </a:p>
        </p:txBody>
      </p:sp>
      <p:sp>
        <p:nvSpPr>
          <p:cNvPr id="20" name="TextBox 1"/>
          <p:cNvSpPr txBox="1">
            <a:spLocks noChangeArrowheads="1"/>
          </p:cNvSpPr>
          <p:nvPr/>
        </p:nvSpPr>
        <p:spPr bwMode="auto">
          <a:xfrm>
            <a:off x="2097052" y="1276868"/>
            <a:ext cx="4987999" cy="1384995"/>
          </a:xfrm>
          <a:prstGeom prst="rect">
            <a:avLst/>
          </a:prstGeom>
          <a:ln w="57150">
            <a:solidFill>
              <a:srgbClr val="92D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>
            <a:spAutoFit/>
          </a:bodyPr>
          <a:lstStyle>
            <a:lvl1pPr marL="269875" indent="-269875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indent="0" algn="ctr">
              <a:lnSpc>
                <a:spcPct val="150000"/>
              </a:lnSpc>
              <a:spcBef>
                <a:spcPct val="0"/>
              </a:spcBef>
              <a:spcAft>
                <a:spcPts val="372"/>
              </a:spcAft>
            </a:pPr>
            <a:r>
              <a:rPr lang="hu-HU" altLang="hu-H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önyvtárak szolgáltatásai és  új szerepvállalásai nincsenek összhangban a társadalmi elismertséggel</a:t>
            </a:r>
            <a:endParaRPr lang="hu-HU" altLang="hu-HU" sz="2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ubtitle 2"/>
          <p:cNvSpPr txBox="1">
            <a:spLocks/>
          </p:cNvSpPr>
          <p:nvPr/>
        </p:nvSpPr>
        <p:spPr>
          <a:xfrm>
            <a:off x="180866" y="3301415"/>
            <a:ext cx="9536489" cy="622651"/>
          </a:xfrm>
          <a:prstGeom prst="rect">
            <a:avLst/>
          </a:prstGeom>
          <a:solidFill>
            <a:schemeClr val="tx2"/>
          </a:solidFill>
          <a:ln>
            <a:solidFill>
              <a:srgbClr val="0070C0"/>
            </a:solidFill>
          </a:ln>
        </p:spPr>
        <p:txBody>
          <a:bodyPr/>
          <a:lstStyle>
            <a:lvl1pPr algn="l" defTabSz="609744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2116" kern="1200">
                <a:solidFill>
                  <a:schemeClr val="tx1"/>
                </a:solidFill>
                <a:latin typeface="Tele-GroteskEENor" pitchFamily="2" charset="0"/>
                <a:ea typeface="+mn-ea"/>
                <a:cs typeface="+mn-cs"/>
              </a:defRPr>
            </a:lvl1pPr>
            <a:lvl2pPr marL="1680" algn="l" defTabSz="609744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2116" kern="1200">
                <a:solidFill>
                  <a:schemeClr val="tx1"/>
                </a:solidFill>
                <a:latin typeface="Tele-GroteskEENor" pitchFamily="2" charset="0"/>
                <a:ea typeface="+mn-ea"/>
                <a:cs typeface="+mn-cs"/>
              </a:defRPr>
            </a:lvl2pPr>
            <a:lvl3pPr marL="238522" indent="-233484" algn="l" defTabSz="609744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116" kern="1200">
                <a:solidFill>
                  <a:schemeClr val="tx1"/>
                </a:solidFill>
                <a:latin typeface="Tele-GroteskEENor" pitchFamily="2" charset="0"/>
                <a:ea typeface="+mn-ea"/>
                <a:cs typeface="+mn-cs"/>
              </a:defRPr>
            </a:lvl3pPr>
            <a:lvl4pPr marL="470325" indent="-228444" algn="l" defTabSz="609744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116" kern="1200">
                <a:solidFill>
                  <a:schemeClr val="tx1"/>
                </a:solidFill>
                <a:latin typeface="Tele-GroteskEENor" pitchFamily="2" charset="0"/>
                <a:ea typeface="+mn-ea"/>
                <a:cs typeface="+mn-cs"/>
              </a:defRPr>
            </a:lvl4pPr>
            <a:lvl5pPr marL="717247" indent="-245241" algn="l" defTabSz="609744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2116" kern="1200">
                <a:solidFill>
                  <a:schemeClr val="tx1"/>
                </a:solidFill>
                <a:latin typeface="Tele-GroteskEENor" pitchFamily="2" charset="0"/>
                <a:ea typeface="+mn-ea"/>
                <a:cs typeface="+mn-cs"/>
              </a:defRPr>
            </a:lvl5pPr>
            <a:lvl6pPr marL="2660698" indent="-241882" algn="l" defTabSz="483763" rtl="0" eaLnBrk="1" latinLnBrk="0" hangingPunct="1">
              <a:spcBef>
                <a:spcPct val="20000"/>
              </a:spcBef>
              <a:buFont typeface="Arial"/>
              <a:buChar char="•"/>
              <a:defRPr sz="21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44462" indent="-241882" algn="l" defTabSz="483763" rtl="0" eaLnBrk="1" latinLnBrk="0" hangingPunct="1">
              <a:spcBef>
                <a:spcPct val="20000"/>
              </a:spcBef>
              <a:buFont typeface="Arial"/>
              <a:buChar char="•"/>
              <a:defRPr sz="21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28225" indent="-241882" algn="l" defTabSz="483763" rtl="0" eaLnBrk="1" latinLnBrk="0" hangingPunct="1">
              <a:spcBef>
                <a:spcPct val="20000"/>
              </a:spcBef>
              <a:buFont typeface="Arial"/>
              <a:buChar char="•"/>
              <a:defRPr sz="21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1988" indent="-241882" algn="l" defTabSz="483763" rtl="0" eaLnBrk="1" latinLnBrk="0" hangingPunct="1">
              <a:spcBef>
                <a:spcPct val="20000"/>
              </a:spcBef>
              <a:buFont typeface="Arial"/>
              <a:buChar char="•"/>
              <a:defRPr sz="21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hu-HU" altLang="hu-HU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használóknak szükségük van a </a:t>
            </a:r>
            <a:r>
              <a:rPr lang="hu-HU" altLang="hu-H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nyvtári értékteremtésre</a:t>
            </a:r>
            <a:endParaRPr lang="hu-HU" altLang="hu-HU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Lekerekített téglalap 1"/>
          <p:cNvSpPr/>
          <p:nvPr/>
        </p:nvSpPr>
        <p:spPr>
          <a:xfrm>
            <a:off x="225763" y="6372221"/>
            <a:ext cx="9980869" cy="726526"/>
          </a:xfrm>
          <a:prstGeom prst="round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372"/>
              </a:spcAft>
              <a:buClr>
                <a:schemeClr val="tx2"/>
              </a:buClr>
            </a:pPr>
            <a:r>
              <a:rPr lang="hu-HU" sz="231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talógus felfogásunk túl lineáris az ismeretszerzés folyamatához</a:t>
            </a:r>
          </a:p>
        </p:txBody>
      </p:sp>
      <p:pic>
        <p:nvPicPr>
          <p:cNvPr id="7" name="Kép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7069" y="4328898"/>
            <a:ext cx="1312608" cy="1169214"/>
          </a:xfrm>
          <a:prstGeom prst="rect">
            <a:avLst/>
          </a:prstGeom>
        </p:spPr>
      </p:pic>
      <p:sp>
        <p:nvSpPr>
          <p:cNvPr id="27" name="Szövegdoboz 26"/>
          <p:cNvSpPr txBox="1"/>
          <p:nvPr/>
        </p:nvSpPr>
        <p:spPr>
          <a:xfrm>
            <a:off x="2240611" y="2751476"/>
            <a:ext cx="2279287" cy="3053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72"/>
              </a:spcAft>
              <a:buClr>
                <a:schemeClr val="tx2"/>
              </a:buClr>
            </a:pPr>
            <a:r>
              <a:rPr lang="hu-HU" sz="1984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RTÉKTEREMTÉS</a:t>
            </a:r>
          </a:p>
        </p:txBody>
      </p:sp>
      <p:sp>
        <p:nvSpPr>
          <p:cNvPr id="21" name="Szövegdoboz 20"/>
          <p:cNvSpPr txBox="1"/>
          <p:nvPr/>
        </p:nvSpPr>
        <p:spPr>
          <a:xfrm>
            <a:off x="1940396" y="4201833"/>
            <a:ext cx="7562834" cy="20489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altLang="hu-HU" sz="1902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m elég a könyvtári  információk gyors elérése weben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altLang="hu-HU" sz="1902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1902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en megjelenő adataink kevéssé illeszkednek a web adottságokhoz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weben lévő lehetőségeket </a:t>
            </a:r>
            <a:r>
              <a:rPr lang="hu-HU" sz="1902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véssé integráljuk</a:t>
            </a:r>
            <a:endParaRPr lang="hu-HU" sz="1902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atalogizálás megoldásai idegenek a felhasználók számára</a:t>
            </a:r>
          </a:p>
          <a:p>
            <a:pPr marL="236258" indent="-236258">
              <a:buFont typeface="Arial" panose="020B0604020202020204" pitchFamily="34" charset="0"/>
              <a:buChar char="•"/>
            </a:pPr>
            <a:r>
              <a:rPr lang="hu-HU" sz="1902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atalógus szűkebb és bővebb információkat nyújt a </a:t>
            </a:r>
            <a:r>
              <a:rPr lang="hu-HU" sz="1902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lleténél – a MARC válsága vagy reneszánsza?</a:t>
            </a:r>
            <a:endParaRPr lang="hu-HU" altLang="hu-HU" sz="1902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zövegdoboz 27"/>
          <p:cNvSpPr txBox="1"/>
          <p:nvPr/>
        </p:nvSpPr>
        <p:spPr>
          <a:xfrm>
            <a:off x="4868607" y="2809808"/>
            <a:ext cx="2279287" cy="3053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72"/>
              </a:spcAft>
              <a:buClr>
                <a:schemeClr val="tx2"/>
              </a:buClr>
            </a:pPr>
            <a:r>
              <a:rPr lang="hu-HU" sz="1984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ÁCIÓ</a:t>
            </a:r>
          </a:p>
        </p:txBody>
      </p:sp>
      <p:sp>
        <p:nvSpPr>
          <p:cNvPr id="29" name="Szövegdoboz 28"/>
          <p:cNvSpPr txBox="1"/>
          <p:nvPr/>
        </p:nvSpPr>
        <p:spPr>
          <a:xfrm>
            <a:off x="7291453" y="2809808"/>
            <a:ext cx="2425902" cy="3053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72"/>
              </a:spcAft>
              <a:buClr>
                <a:schemeClr val="tx2"/>
              </a:buClr>
            </a:pPr>
            <a:r>
              <a:rPr lang="hu-HU" sz="1984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ZFORMÁCIÓ</a:t>
            </a:r>
          </a:p>
        </p:txBody>
      </p:sp>
    </p:spTree>
    <p:extLst>
      <p:ext uri="{BB962C8B-B14F-4D97-AF65-F5344CB8AC3E}">
        <p14:creationId xmlns:p14="http://schemas.microsoft.com/office/powerpoint/2010/main" xmlns="" val="20338028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b="1" dirty="0" smtClean="0">
                <a:latin typeface="Arial" panose="020B0604020202020204" pitchFamily="34" charset="0"/>
                <a:cs typeface="Arial" panose="020B0604020202020204" pitchFamily="34" charset="0"/>
              </a:rPr>
              <a:t>A megismerés dinamikus, interaktív, hálózati jellege </a:t>
            </a:r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78458" y="1372906"/>
            <a:ext cx="9580834" cy="6063480"/>
          </a:xfrm>
          <a:solidFill>
            <a:schemeClr val="bg1"/>
          </a:solidFill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 megismerés elsődleges forrásai hálózatiak, a saját kontroll csoport jellemző útvonalai meghatározó, az </a:t>
            </a: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útvonalak </a:t>
            </a: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tanulmányozhatók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b="1" dirty="0" smtClean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daptálásuk </a:t>
            </a:r>
            <a:r>
              <a:rPr lang="hu-HU" b="1" dirty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 könyvtári </a:t>
            </a:r>
            <a:r>
              <a:rPr lang="hu-HU" b="1" i="1" dirty="0" err="1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workflow</a:t>
            </a:r>
            <a:r>
              <a:rPr lang="hu-HU" b="1" dirty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alakításában elkerülhetetlen</a:t>
            </a:r>
            <a:r>
              <a:rPr lang="hu-HU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. </a:t>
            </a:r>
            <a:endParaRPr lang="hu-HU" sz="2000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Dinamikus és váratlan növekedé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 kulturális, média és tudományos területeken a digitális hálózati információ dinamikusan és váratlan 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iterjedéssel, hektikusan nő</a:t>
            </a: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, a tájékozódás, 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 szelekció, az </a:t>
            </a: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dat- és 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információtárolás komoly erőpróba</a:t>
            </a:r>
            <a:endParaRPr lang="hu-HU" dirty="0">
              <a:solidFill>
                <a:schemeClr val="accent1">
                  <a:lumMod val="7500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Interaktív kapcsolatok, kommunikációs </a:t>
            </a: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lehetőségek, nyitás</a:t>
            </a:r>
            <a:endParaRPr lang="hu-HU" sz="2000" b="1" dirty="0">
              <a:solidFill>
                <a:schemeClr val="tx2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 hálózati működéssel és az új használói szokásokkal együtt jár az </a:t>
            </a:r>
            <a:r>
              <a:rPr lang="hu-HU" b="1" dirty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interaktív kapcsolatok kiépítése </a:t>
            </a: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 szervezés és a tranzakciók sorá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Közös könyvtári nyílt alkalmazási platformok, tervezett </a:t>
            </a:r>
            <a:r>
              <a:rPr lang="hu-HU" sz="2000" b="1" dirty="0" err="1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discovery</a:t>
            </a: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rendszerek, átjárhatóság, standard alapú minták, önképzé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Együttműködés és egységesítés, szindikátusok, specializálódás, intelligens, támogatott műveletek, egységesített, rendszerekbe épített </a:t>
            </a:r>
            <a:r>
              <a:rPr lang="hu-HU" dirty="0" err="1" smtClean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workflow</a:t>
            </a:r>
            <a:endParaRPr lang="hu-HU" dirty="0" smtClean="0">
              <a:solidFill>
                <a:schemeClr val="accent1">
                  <a:lumMod val="7500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 könyvtári munkafolyamatnak változnia kell </a:t>
            </a:r>
            <a:r>
              <a:rPr lang="hu-HU" sz="2000" dirty="0" smtClean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: 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  modern könyvtári </a:t>
            </a:r>
            <a:r>
              <a:rPr lang="hu-HU" dirty="0" err="1" smtClean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workflow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dinamikusan követi a használói szokásokat és a web technológia alkalmazásainak beépítését.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067704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Ki az olvasónk?                  Ki a könyvtáros?             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églalap 10"/>
          <p:cNvSpPr/>
          <p:nvPr/>
        </p:nvSpPr>
        <p:spPr>
          <a:xfrm>
            <a:off x="266668" y="5187199"/>
            <a:ext cx="4060403" cy="2193315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rdemes kérdezni, figyelni, követni, adjunk </a:t>
            </a:r>
            <a:r>
              <a:rPr lang="hu-H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zközöket </a:t>
            </a:r>
            <a:r>
              <a:rPr lang="hu-HU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ámára, elemezzük, hogyan használja</a:t>
            </a:r>
          </a:p>
          <a:p>
            <a:pPr algn="ctr"/>
            <a:r>
              <a:rPr lang="hu-HU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gyeljük  </a:t>
            </a:r>
            <a:r>
              <a:rPr lang="hu-H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zsúfolt használói helyeket </a:t>
            </a:r>
          </a:p>
        </p:txBody>
      </p:sp>
      <p:sp>
        <p:nvSpPr>
          <p:cNvPr id="13" name="Lekerekített téglalap 12"/>
          <p:cNvSpPr/>
          <p:nvPr/>
        </p:nvSpPr>
        <p:spPr>
          <a:xfrm>
            <a:off x="4737105" y="3473029"/>
            <a:ext cx="4983157" cy="4088234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lnSpc>
                <a:spcPts val="2067"/>
              </a:lnSpc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gváltozott tevékenység </a:t>
            </a:r>
            <a:r>
              <a:rPr lang="hu-HU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erkezet, specializálódás</a:t>
            </a:r>
          </a:p>
          <a:p>
            <a:pPr marL="342900" indent="-342900">
              <a:lnSpc>
                <a:spcPts val="2067"/>
              </a:lnSpc>
              <a:buFont typeface="Arial" panose="020B0604020202020204" pitchFamily="34" charset="0"/>
              <a:buChar char="•"/>
            </a:pPr>
            <a:endParaRPr lang="hu-HU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8775">
              <a:lnSpc>
                <a:spcPts val="2067"/>
              </a:lnSpc>
            </a:pP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talomszerkesztő (rekord, archívum, könyvtár, fájlkönyvtár</a:t>
            </a:r>
          </a:p>
          <a:p>
            <a:pPr marL="358775">
              <a:lnSpc>
                <a:spcPts val="2067"/>
              </a:lnSpc>
            </a:pP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munikátor (más könyvtárakkal, vezetőkkel, specialistákkal)</a:t>
            </a:r>
          </a:p>
          <a:p>
            <a:pPr marL="358775">
              <a:lnSpc>
                <a:spcPts val="2067"/>
              </a:lnSpc>
            </a:pP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szolidáló (tájékoztató, bróker, analizáló stb.)</a:t>
            </a:r>
          </a:p>
          <a:p>
            <a:pPr marL="358775">
              <a:lnSpc>
                <a:spcPts val="2067"/>
              </a:lnSpc>
            </a:pPr>
            <a:r>
              <a:rPr lang="hu-H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kord és adat specialista</a:t>
            </a:r>
          </a:p>
          <a:p>
            <a:pPr marL="358775">
              <a:lnSpc>
                <a:spcPts val="2067"/>
              </a:lnSpc>
            </a:pPr>
            <a:r>
              <a:rPr lang="hu-HU" sz="2000" b="1" dirty="0" smtClean="0">
                <a:solidFill>
                  <a:srgbClr val="4A98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jdonságok tervezője</a:t>
            </a:r>
          </a:p>
          <a:p>
            <a:pPr marL="358775"/>
            <a:r>
              <a:rPr lang="hu-HU" sz="2000" b="1" dirty="0" smtClean="0">
                <a:solidFill>
                  <a:srgbClr val="4A98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ógiai </a:t>
            </a:r>
            <a:r>
              <a:rPr lang="hu-HU" sz="2000" b="1" dirty="0" err="1" smtClean="0">
                <a:solidFill>
                  <a:srgbClr val="4A98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ngelista</a:t>
            </a:r>
            <a:r>
              <a:rPr lang="hu-HU" sz="2000" b="1" dirty="0" smtClean="0">
                <a:solidFill>
                  <a:srgbClr val="4A98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mentor</a:t>
            </a:r>
            <a:endParaRPr lang="hu-HU" sz="2000" b="1" dirty="0">
              <a:solidFill>
                <a:srgbClr val="4A985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Lekerekített téglalap 13"/>
          <p:cNvSpPr/>
          <p:nvPr/>
        </p:nvSpPr>
        <p:spPr>
          <a:xfrm>
            <a:off x="266668" y="3561551"/>
            <a:ext cx="4060403" cy="1412338"/>
          </a:xfrm>
          <a:prstGeom prst="roundRect">
            <a:avLst/>
          </a:prstGeom>
          <a:solidFill>
            <a:srgbClr val="002060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78013" indent="-378013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yüttműködik abban, </a:t>
            </a:r>
            <a:r>
              <a:rPr lang="hu-H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lyik technológia releváns</a:t>
            </a:r>
          </a:p>
          <a:p>
            <a:pPr marL="378013" indent="-378013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szajelez, igényt fogalmaz meg, </a:t>
            </a:r>
            <a:r>
              <a:rPr lang="hu-HU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rtelmez, önálló</a:t>
            </a:r>
            <a:endParaRPr lang="hu-HU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Lefelé nyíl 14"/>
          <p:cNvSpPr/>
          <p:nvPr/>
        </p:nvSpPr>
        <p:spPr>
          <a:xfrm>
            <a:off x="3345354" y="1546638"/>
            <a:ext cx="2009321" cy="1261876"/>
          </a:xfrm>
          <a:prstGeom prst="downArrow">
            <a:avLst>
              <a:gd name="adj1" fmla="val 50000"/>
              <a:gd name="adj2" fmla="val 48652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902" dirty="0" err="1">
              <a:solidFill>
                <a:schemeClr val="tx1"/>
              </a:solidFill>
            </a:endParaRPr>
          </a:p>
        </p:txBody>
      </p:sp>
      <p:pic>
        <p:nvPicPr>
          <p:cNvPr id="16" name="Kép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60000" y="1095434"/>
            <a:ext cx="2985354" cy="2130796"/>
          </a:xfrm>
          <a:prstGeom prst="rect">
            <a:avLst/>
          </a:prstGeom>
        </p:spPr>
      </p:pic>
      <p:pic>
        <p:nvPicPr>
          <p:cNvPr id="5" name="Kép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372270" y="993663"/>
            <a:ext cx="2893355" cy="2289964"/>
          </a:xfrm>
          <a:prstGeom prst="rect">
            <a:avLst/>
          </a:prstGeom>
        </p:spPr>
      </p:pic>
      <p:sp>
        <p:nvSpPr>
          <p:cNvPr id="8" name="Ellipszis 7"/>
          <p:cNvSpPr/>
          <p:nvPr/>
        </p:nvSpPr>
        <p:spPr bwMode="gray">
          <a:xfrm>
            <a:off x="8866501" y="602940"/>
            <a:ext cx="956220" cy="927250"/>
          </a:xfrm>
          <a:prstGeom prst="ellips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8" name="Ellipszis 17"/>
          <p:cNvSpPr/>
          <p:nvPr/>
        </p:nvSpPr>
        <p:spPr bwMode="gray">
          <a:xfrm>
            <a:off x="8866501" y="1618621"/>
            <a:ext cx="956220" cy="927250"/>
          </a:xfrm>
          <a:prstGeom prst="ellipse">
            <a:avLst/>
          </a:prstGeom>
          <a:solidFill>
            <a:srgbClr val="0070C0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9" name="Ellipszis 18"/>
          <p:cNvSpPr/>
          <p:nvPr/>
        </p:nvSpPr>
        <p:spPr bwMode="gray">
          <a:xfrm>
            <a:off x="8866501" y="2663876"/>
            <a:ext cx="956220" cy="927250"/>
          </a:xfrm>
          <a:prstGeom prst="ellipse">
            <a:avLst/>
          </a:prstGeom>
          <a:solidFill>
            <a:srgbClr val="66FF66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cxnSp>
        <p:nvCxnSpPr>
          <p:cNvPr id="69" name="Egyenes összekötő 68"/>
          <p:cNvCxnSpPr/>
          <p:nvPr/>
        </p:nvCxnSpPr>
        <p:spPr>
          <a:xfrm flipV="1">
            <a:off x="7625443" y="1246684"/>
            <a:ext cx="1262080" cy="948021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Egyenes összekötő 70"/>
          <p:cNvCxnSpPr/>
          <p:nvPr/>
        </p:nvCxnSpPr>
        <p:spPr>
          <a:xfrm>
            <a:off x="7625443" y="2194705"/>
            <a:ext cx="1241058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Egyenes összekötő 72"/>
          <p:cNvCxnSpPr>
            <a:endCxn id="19" idx="2"/>
          </p:cNvCxnSpPr>
          <p:nvPr/>
        </p:nvCxnSpPr>
        <p:spPr>
          <a:xfrm>
            <a:off x="7604421" y="2207241"/>
            <a:ext cx="1262080" cy="92026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4" name="Ellipszis 73"/>
          <p:cNvSpPr/>
          <p:nvPr/>
        </p:nvSpPr>
        <p:spPr bwMode="gray">
          <a:xfrm>
            <a:off x="4813084" y="4548535"/>
            <a:ext cx="374645" cy="326572"/>
          </a:xfrm>
          <a:prstGeom prst="ellips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5" name="Ellipszis 74"/>
          <p:cNvSpPr/>
          <p:nvPr/>
        </p:nvSpPr>
        <p:spPr bwMode="gray">
          <a:xfrm>
            <a:off x="4834129" y="6277184"/>
            <a:ext cx="373126" cy="412750"/>
          </a:xfrm>
          <a:prstGeom prst="ellipse">
            <a:avLst/>
          </a:prstGeom>
          <a:solidFill>
            <a:srgbClr val="0070C0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6" name="Ellipszis 75"/>
          <p:cNvSpPr/>
          <p:nvPr/>
        </p:nvSpPr>
        <p:spPr bwMode="gray">
          <a:xfrm>
            <a:off x="4859600" y="6781666"/>
            <a:ext cx="347655" cy="295543"/>
          </a:xfrm>
          <a:prstGeom prst="ellipse">
            <a:avLst/>
          </a:prstGeom>
          <a:solidFill>
            <a:srgbClr val="66FF66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508338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heme/theme1.xml><?xml version="1.0" encoding="utf-8"?>
<a:theme xmlns:a="http://schemas.openxmlformats.org/drawingml/2006/main" name="T-Systems_MASTER_4-3_EN_20151005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sp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defTabSz="457322" fontAlgn="base">
          <a:lnSpc>
            <a:spcPct val="104000"/>
          </a:lnSpc>
          <a:spcBef>
            <a:spcPts val="300"/>
          </a:spcBef>
          <a:spcAft>
            <a:spcPct val="0"/>
          </a:spcAft>
          <a:buClr>
            <a:schemeClr val="tx1"/>
          </a:buClr>
          <a:buSzPct val="70000"/>
          <a:defRPr sz="1800" dirty="0" smtClean="0">
            <a:ea typeface="Swagger" pitchFamily="2" charset="0"/>
          </a:defRPr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T-Systems_MASTER_4-3_EN_20150916" id="{DFEFAFB4-ABC7-4B25-965E-2C14A01E366B}" vid="{D2B6305F-D7EB-42C0-B52E-42296371498F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-Systems_MASTER_4-3_EN_20151005</Template>
  <TotalTime>0</TotalTime>
  <Words>2418</Words>
  <Application>Microsoft Office PowerPoint</Application>
  <PresentationFormat>Egyéni</PresentationFormat>
  <Paragraphs>288</Paragraphs>
  <Slides>21</Slides>
  <Notes>9</Notes>
  <HiddenSlides>0</HiddenSlides>
  <MMClips>0</MMClips>
  <ScaleCrop>false</ScaleCrop>
  <HeadingPairs>
    <vt:vector size="6" baseType="variant"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21</vt:i4>
      </vt:variant>
    </vt:vector>
  </HeadingPairs>
  <TitlesOfParts>
    <vt:vector size="23" baseType="lpstr">
      <vt:lpstr>T-Systems_MASTER_4-3_EN_20151005</vt:lpstr>
      <vt:lpstr>think-cell Folie</vt:lpstr>
      <vt:lpstr>  </vt:lpstr>
      <vt:lpstr>MERRE TARTUNK?</vt:lpstr>
      <vt:lpstr>A használók nem ott, nem úgy, és nem azt keresik…</vt:lpstr>
      <vt:lpstr>Új generációs digitális technológia  intelligens, gyors, mobil, szimulált</vt:lpstr>
      <vt:lpstr>5. dia</vt:lpstr>
      <vt:lpstr>Könyvtári transzformációt generáló külső hatások</vt:lpstr>
      <vt:lpstr>7. dia</vt:lpstr>
      <vt:lpstr>A megismerés dinamikus, interaktív, hálózati jellege  </vt:lpstr>
      <vt:lpstr>Ki az olvasónk?                  Ki a könyvtáros?             </vt:lpstr>
      <vt:lpstr>Tervezzünk dinamikus könyvtári jelenlétet</vt:lpstr>
      <vt:lpstr>A könyvtár mint inspiráló intellektuális közösségi tér </vt:lpstr>
      <vt:lpstr>On-line tanulás, digitális könyvtári kurzusok, tanulás támogatás</vt:lpstr>
      <vt:lpstr>13. dia</vt:lpstr>
      <vt:lpstr>OCLC könyvtári tudásgráf entitások WorldCat, VIAF, ISNI, Wikidata, Fast (példa: Erkel Ferenc: István király)</vt:lpstr>
      <vt:lpstr>„OPEN” - A nyílt hozzáférés fejlődése, IFLA trendek   </vt:lpstr>
      <vt:lpstr> „Smart” rendszerek konvergenciájája</vt:lpstr>
      <vt:lpstr>„Smart” cities, „smart” libraries, Internet of Things  fenntartható fejlődés </vt:lpstr>
      <vt:lpstr>Intelligens modellek és stratégiák  – innovatív inspiráló környezet és oktatás</vt:lpstr>
      <vt:lpstr>Könyvtárak újrapozícionálása, szerepmódosítások</vt:lpstr>
      <vt:lpstr>Tendenciák – közkönyvtári inspirációk</vt:lpstr>
      <vt:lpstr>21. dia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3-21T12:39:24Z</dcterms:created>
  <dcterms:modified xsi:type="dcterms:W3CDTF">2017-11-29T11:20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610292040</vt:i4>
  </property>
  <property fmtid="{D5CDD505-2E9C-101B-9397-08002B2CF9AE}" pid="3" name="_NewReviewCycle">
    <vt:lpwstr/>
  </property>
  <property fmtid="{D5CDD505-2E9C-101B-9397-08002B2CF9AE}" pid="4" name="_PreviousAdHocReviewCycleID">
    <vt:i4>1667370568</vt:i4>
  </property>
</Properties>
</file>